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6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3" r:id="rId3"/>
  </p:sldMasterIdLst>
  <p:notesMasterIdLst>
    <p:notesMasterId r:id="rId5"/>
  </p:notesMasterIdLst>
  <p:handoutMasterIdLst>
    <p:handoutMasterId r:id="rId15"/>
  </p:handoutMasterIdLst>
  <p:sldIdLst>
    <p:sldId id="1564" r:id="rId4"/>
    <p:sldId id="10167" r:id="rId6"/>
    <p:sldId id="10181" r:id="rId7"/>
    <p:sldId id="10176" r:id="rId8"/>
    <p:sldId id="10182" r:id="rId9"/>
    <p:sldId id="10183" r:id="rId10"/>
    <p:sldId id="10177" r:id="rId11"/>
    <p:sldId id="10175" r:id="rId12"/>
    <p:sldId id="10178" r:id="rId13"/>
    <p:sldId id="10179" r:id="rId14"/>
  </p:sldIdLst>
  <p:sldSz cx="12192000" cy="6858000"/>
  <p:notesSz cx="7103745" cy="10234295"/>
  <p:custDataLst>
    <p:tags r:id="rId2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6" userDrawn="1">
          <p15:clr>
            <a:srgbClr val="A4A3A4"/>
          </p15:clr>
        </p15:guide>
        <p15:guide id="2" orient="horz" pos="754" userDrawn="1">
          <p15:clr>
            <a:srgbClr val="A4A3A4"/>
          </p15:clr>
        </p15:guide>
        <p15:guide id="3" orient="horz" pos="3203" userDrawn="1">
          <p15:clr>
            <a:srgbClr val="A4A3A4"/>
          </p15:clr>
        </p15:guide>
        <p15:guide id="4" pos="7086" userDrawn="1">
          <p15:clr>
            <a:srgbClr val="A4A3A4"/>
          </p15:clr>
        </p15:guide>
        <p15:guide id="5" pos="937" userDrawn="1">
          <p15:clr>
            <a:srgbClr val="A4A3A4"/>
          </p15:clr>
        </p15:guide>
        <p15:guide id="6" pos="254" userDrawn="1">
          <p15:clr>
            <a:srgbClr val="A4A3A4"/>
          </p15:clr>
        </p15:guide>
        <p15:guide id="7" orient="horz" pos="297" userDrawn="1">
          <p15:clr>
            <a:srgbClr val="A4A3A4"/>
          </p15:clr>
        </p15:guide>
        <p15:guide id="8" pos="66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Fu, Ergang" initials="FE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E616"/>
    <a:srgbClr val="FE7900"/>
    <a:srgbClr val="1AAFDD"/>
    <a:srgbClr val="FF304C"/>
    <a:srgbClr val="12AADB"/>
    <a:srgbClr val="6D64CC"/>
    <a:srgbClr val="FF6327"/>
    <a:srgbClr val="2B0A3D"/>
    <a:srgbClr val="12ABDB"/>
    <a:srgbClr val="0070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35" autoAdjust="0"/>
    <p:restoredTop sz="87939" autoAdjust="0"/>
  </p:normalViewPr>
  <p:slideViewPr>
    <p:cSldViewPr showGuides="1">
      <p:cViewPr varScale="1">
        <p:scale>
          <a:sx n="63" d="100"/>
          <a:sy n="63" d="100"/>
        </p:scale>
        <p:origin x="684" y="60"/>
      </p:cViewPr>
      <p:guideLst>
        <p:guide orient="horz" pos="1196"/>
        <p:guide orient="horz" pos="754"/>
        <p:guide orient="horz" pos="3203"/>
        <p:guide pos="7086"/>
        <p:guide pos="937"/>
        <p:guide pos="254"/>
        <p:guide orient="horz" pos="297"/>
        <p:guide pos="665"/>
      </p:guideLst>
    </p:cSldViewPr>
  </p:slideViewPr>
  <p:outlineViewPr>
    <p:cViewPr>
      <p:scale>
        <a:sx n="33" d="100"/>
        <a:sy n="33" d="100"/>
      </p:scale>
      <p:origin x="0" y="-678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5208"/>
    </p:cViewPr>
  </p:sorterViewPr>
  <p:notesViewPr>
    <p:cSldViewPr>
      <p:cViewPr varScale="1">
        <p:scale>
          <a:sx n="45" d="100"/>
          <a:sy n="45" d="100"/>
        </p:scale>
        <p:origin x="1940" y="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0" Type="http://schemas.openxmlformats.org/officeDocument/2006/relationships/tags" Target="tags/tag64.xml"/><Relationship Id="rId2" Type="http://schemas.openxmlformats.org/officeDocument/2006/relationships/theme" Target="theme/theme1.xml"/><Relationship Id="rId19" Type="http://schemas.openxmlformats.org/officeDocument/2006/relationships/commentAuthors" Target="commentAuthors.xml"/><Relationship Id="rId18" Type="http://schemas.openxmlformats.org/officeDocument/2006/relationships/tableStyles" Target="tableStyles.xml"/><Relationship Id="rId17" Type="http://schemas.openxmlformats.org/officeDocument/2006/relationships/viewProps" Target="viewProps.xml"/><Relationship Id="rId16" Type="http://schemas.openxmlformats.org/officeDocument/2006/relationships/presProps" Target="presProps.xml"/><Relationship Id="rId15" Type="http://schemas.openxmlformats.org/officeDocument/2006/relationships/handoutMaster" Target="handoutMasters/handoutMaster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6C988DC-9DE3-4390-97AB-D61B85DACE57}" type="datetimeFigureOut">
              <a:rPr lang="pt-PT" smtClean="0"/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3507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3507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2F190BF9-40D8-49B5-87EF-599BB2C7EE93}" type="slidenum">
              <a:rPr lang="pt-PT" smtClean="0"/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0835B8F7-DAC4-4931-8AED-4356A8B2FD64}" type="datetimeFigureOut">
              <a:rPr lang="pt-BR" smtClean="0"/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pt-PT"/>
              <a:t>Editar os estilos de texto do Modelo Global</a:t>
            </a:r>
            <a:endParaRPr lang="pt-PT"/>
          </a:p>
          <a:p>
            <a:pPr lvl="1"/>
            <a:r>
              <a:rPr lang="pt-PT"/>
              <a:t>Segundo nível</a:t>
            </a:r>
            <a:endParaRPr lang="pt-PT"/>
          </a:p>
          <a:p>
            <a:pPr lvl="2"/>
            <a:r>
              <a:rPr lang="pt-PT"/>
              <a:t>Terceiro nível</a:t>
            </a:r>
            <a:endParaRPr lang="pt-PT"/>
          </a:p>
          <a:p>
            <a:pPr lvl="3"/>
            <a:r>
              <a:rPr lang="pt-PT"/>
              <a:t>Quarto nível</a:t>
            </a:r>
            <a:endParaRPr lang="pt-PT"/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3507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3507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0696B5C-12A0-4042-B4D0-BD3B9A4F58C6}" type="slidenum">
              <a:rPr kumimoji="0" lang="pt-BR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</a:fld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2019</a:t>
            </a: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1.emf"/><Relationship Id="rId8" Type="http://schemas.openxmlformats.org/officeDocument/2006/relationships/oleObject" Target="../embeddings/oleObject2.bin"/><Relationship Id="rId7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tags" Target="../tags/tag2.xml"/><Relationship Id="rId4" Type="http://schemas.openxmlformats.org/officeDocument/2006/relationships/image" Target="../media/image9.png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0" Type="http://schemas.openxmlformats.org/officeDocument/2006/relationships/vmlDrawing" Target="../drawings/vmlDrawing1.vm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Relationship Id="rId3" Type="http://schemas.openxmlformats.org/officeDocument/2006/relationships/tags" Target="../tags/tag5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image" Target="../media/image17.png"/><Relationship Id="rId4" Type="http://schemas.openxmlformats.org/officeDocument/2006/relationships/image" Target="../media/image13.emf"/><Relationship Id="rId3" Type="http://schemas.openxmlformats.org/officeDocument/2006/relationships/oleObject" Target="../embeddings/oleObject5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6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7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8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9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0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2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4.bin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4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7.xml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6.bin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6.v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7.bin"/><Relationship Id="rId2" Type="http://schemas.openxmlformats.org/officeDocument/2006/relationships/tags" Target="../tags/tag19.xml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9" Type="http://schemas.openxmlformats.org/officeDocument/2006/relationships/image" Target="../media/image25.png"/><Relationship Id="rId8" Type="http://schemas.openxmlformats.org/officeDocument/2006/relationships/hyperlink" Target="http://www.twitter.com/capgemini" TargetMode="External"/><Relationship Id="rId7" Type="http://schemas.openxmlformats.org/officeDocument/2006/relationships/image" Target="../media/image24.png"/><Relationship Id="rId6" Type="http://schemas.openxmlformats.org/officeDocument/2006/relationships/hyperlink" Target="http://www.slideshare.net/capgemini" TargetMode="External"/><Relationship Id="rId5" Type="http://schemas.openxmlformats.org/officeDocument/2006/relationships/image" Target="../media/image23.png"/><Relationship Id="rId4" Type="http://schemas.openxmlformats.org/officeDocument/2006/relationships/hyperlink" Target="http://www.linkedin.com/company/capgemini" TargetMode="External"/><Relationship Id="rId3" Type="http://schemas.openxmlformats.org/officeDocument/2006/relationships/hyperlink" Target="http://www.capgemini.com/" TargetMode="External"/><Relationship Id="rId2" Type="http://schemas.openxmlformats.org/officeDocument/2006/relationships/image" Target="../media/image22.jpeg"/><Relationship Id="rId16" Type="http://schemas.openxmlformats.org/officeDocument/2006/relationships/image" Target="../media/image30.jpeg"/><Relationship Id="rId15" Type="http://schemas.openxmlformats.org/officeDocument/2006/relationships/image" Target="../media/image29.png"/><Relationship Id="rId14" Type="http://schemas.openxmlformats.org/officeDocument/2006/relationships/image" Target="../media/image28.png"/><Relationship Id="rId13" Type="http://schemas.openxmlformats.org/officeDocument/2006/relationships/image" Target="../media/image27.png"/><Relationship Id="rId12" Type="http://schemas.openxmlformats.org/officeDocument/2006/relationships/hyperlink" Target="http://www.facebook.com/capgemini" TargetMode="External"/><Relationship Id="rId11" Type="http://schemas.openxmlformats.org/officeDocument/2006/relationships/image" Target="../media/image26.png"/><Relationship Id="rId10" Type="http://schemas.openxmlformats.org/officeDocument/2006/relationships/hyperlink" Target="http://www.youtube.com/capgeminimedia" TargetMode="External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9" Type="http://schemas.openxmlformats.org/officeDocument/2006/relationships/image" Target="../media/image26.png"/><Relationship Id="rId8" Type="http://schemas.openxmlformats.org/officeDocument/2006/relationships/hyperlink" Target="http://www.youtube.com/capgeminimedia" TargetMode="External"/><Relationship Id="rId7" Type="http://schemas.openxmlformats.org/officeDocument/2006/relationships/image" Target="../media/image25.png"/><Relationship Id="rId6" Type="http://schemas.openxmlformats.org/officeDocument/2006/relationships/hyperlink" Target="http://www.twitter.com/capgemini" TargetMode="External"/><Relationship Id="rId5" Type="http://schemas.openxmlformats.org/officeDocument/2006/relationships/image" Target="../media/image24.png"/><Relationship Id="rId4" Type="http://schemas.openxmlformats.org/officeDocument/2006/relationships/hyperlink" Target="http://www.slideshare.net/capgemini" TargetMode="External"/><Relationship Id="rId3" Type="http://schemas.openxmlformats.org/officeDocument/2006/relationships/image" Target="../media/image23.png"/><Relationship Id="rId2" Type="http://schemas.openxmlformats.org/officeDocument/2006/relationships/hyperlink" Target="http://www.linkedin.com/company/capgemini" TargetMode="External"/><Relationship Id="rId14" Type="http://schemas.openxmlformats.org/officeDocument/2006/relationships/image" Target="../media/image32.png"/><Relationship Id="rId13" Type="http://schemas.openxmlformats.org/officeDocument/2006/relationships/image" Target="../media/image31.png"/><Relationship Id="rId12" Type="http://schemas.openxmlformats.org/officeDocument/2006/relationships/hyperlink" Target="http://www.capgemini.com/" TargetMode="External"/><Relationship Id="rId11" Type="http://schemas.openxmlformats.org/officeDocument/2006/relationships/image" Target="../media/image27.png"/><Relationship Id="rId10" Type="http://schemas.openxmlformats.org/officeDocument/2006/relationships/hyperlink" Target="http://www.facebook.com/capgemini" TargetMode="External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7.vml"/><Relationship Id="rId4" Type="http://schemas.openxmlformats.org/officeDocument/2006/relationships/image" Target="../media/image33.emf"/><Relationship Id="rId3" Type="http://schemas.openxmlformats.org/officeDocument/2006/relationships/oleObject" Target="../embeddings/oleObject18.bin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8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22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21.xml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24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0.bin"/><Relationship Id="rId2" Type="http://schemas.openxmlformats.org/officeDocument/2006/relationships/tags" Target="../tags/tag23.xml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0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26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25.xml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28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2.bin"/><Relationship Id="rId2" Type="http://schemas.openxmlformats.org/officeDocument/2006/relationships/tags" Target="../tags/tag27.xml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2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30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3.bin"/><Relationship Id="rId2" Type="http://schemas.openxmlformats.org/officeDocument/2006/relationships/tags" Target="../tags/tag29.xml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3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32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4.bin"/><Relationship Id="rId2" Type="http://schemas.openxmlformats.org/officeDocument/2006/relationships/tags" Target="../tags/tag31.xml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4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34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5.bin"/><Relationship Id="rId2" Type="http://schemas.openxmlformats.org/officeDocument/2006/relationships/tags" Target="../tags/tag33.xml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36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6.bin"/><Relationship Id="rId2" Type="http://schemas.openxmlformats.org/officeDocument/2006/relationships/tags" Target="../tags/tag35.xml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6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38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7.bin"/><Relationship Id="rId2" Type="http://schemas.openxmlformats.org/officeDocument/2006/relationships/tags" Target="../tags/tag37.xml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40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8.bin"/><Relationship Id="rId2" Type="http://schemas.openxmlformats.org/officeDocument/2006/relationships/tags" Target="../tags/tag39.xml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8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42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29.bin"/><Relationship Id="rId2" Type="http://schemas.openxmlformats.org/officeDocument/2006/relationships/tags" Target="../tags/tag41.xml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44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0.bin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0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46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1.bin"/><Relationship Id="rId2" Type="http://schemas.openxmlformats.org/officeDocument/2006/relationships/tags" Target="../tags/tag45.xml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48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2.bin"/><Relationship Id="rId2" Type="http://schemas.openxmlformats.org/officeDocument/2006/relationships/tags" Target="../tags/tag47.xml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2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50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3.bin"/><Relationship Id="rId2" Type="http://schemas.openxmlformats.org/officeDocument/2006/relationships/tags" Target="../tags/tag49.xml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52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4.bin"/><Relationship Id="rId2" Type="http://schemas.openxmlformats.org/officeDocument/2006/relationships/tags" Target="../tags/tag51.xml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54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5.bin"/><Relationship Id="rId2" Type="http://schemas.openxmlformats.org/officeDocument/2006/relationships/tags" Target="../tags/tag53.xml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5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56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6.bin"/><Relationship Id="rId2" Type="http://schemas.openxmlformats.org/officeDocument/2006/relationships/tags" Target="../tags/tag55.xml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6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58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7.bin"/><Relationship Id="rId2" Type="http://schemas.openxmlformats.org/officeDocument/2006/relationships/tags" Target="../tags/tag57.xml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7.v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tags" Target="../tags/tag60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38.bin"/><Relationship Id="rId2" Type="http://schemas.openxmlformats.org/officeDocument/2006/relationships/tags" Target="../tags/tag59.xml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/>
          <p:cNvPicPr>
            <a:picLocks noChangeAspect="1"/>
          </p:cNvPicPr>
          <p:nvPr userDrawn="1"/>
        </p:nvPicPr>
        <p:blipFill rotWithShape="1">
          <a:blip r:embed="rId2"/>
          <a:srcRect r="23077" b="19676"/>
          <a:stretch>
            <a:fillRect/>
          </a:stretch>
        </p:blipFill>
        <p:spPr>
          <a:xfrm rot="16200000">
            <a:off x="5413032" y="79029"/>
            <a:ext cx="6857997" cy="6699938"/>
          </a:xfrm>
          <a:prstGeom prst="rect">
            <a:avLst/>
          </a:prstGeom>
        </p:spPr>
      </p:pic>
      <p:sp>
        <p:nvSpPr>
          <p:cNvPr id="50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51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0"/>
          </p:nvPr>
        </p:nvSpPr>
        <p:spPr>
          <a:xfrm>
            <a:off x="6553200" y="2060575"/>
            <a:ext cx="491013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52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pic>
        <p:nvPicPr>
          <p:cNvPr id="9" name="Graphic 4"/>
          <p:cNvPicPr>
            <a:picLocks noChangeAspect="1"/>
          </p:cNvPicPr>
          <p:nvPr userDrawn="1"/>
        </p:nvPicPr>
        <p:blipFill rotWithShape="1">
          <a:blip r:embed="rId3"/>
          <a:srcRect l="81836" t="-4713" b="16530"/>
          <a:stretch>
            <a:fillRect/>
          </a:stretch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cxnSp>
        <p:nvCxnSpPr>
          <p:cNvPr id="11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tângulo 43"/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26488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  <a:endParaRPr lang="en-US" dirty="0"/>
          </a:p>
        </p:txBody>
      </p:sp>
      <p:sp>
        <p:nvSpPr>
          <p:cNvPr id="42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18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9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opics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992760" y="1556793"/>
            <a:ext cx="9791253" cy="136815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2200"/>
              </a:lnSpc>
              <a:defRPr sz="1800">
                <a:solidFill>
                  <a:schemeClr val="tx1"/>
                </a:solidFill>
              </a:defRPr>
            </a:lvl1pPr>
            <a:lvl2pPr marL="231775" indent="-227330">
              <a:lnSpc>
                <a:spcPts val="1800"/>
              </a:lnSpc>
              <a:defRPr sz="1600">
                <a:solidFill>
                  <a:schemeClr val="tx1"/>
                </a:solidFill>
              </a:defRPr>
            </a:lvl2pPr>
            <a:lvl3pPr marL="463550" indent="-231775">
              <a:lnSpc>
                <a:spcPts val="1600"/>
              </a:lnSpc>
              <a:defRPr sz="1400">
                <a:solidFill>
                  <a:schemeClr val="tx1"/>
                </a:solidFill>
              </a:defRPr>
            </a:lvl3pPr>
            <a:lvl4pPr marL="682625" indent="-219075">
              <a:lnSpc>
                <a:spcPts val="1400"/>
              </a:lnSpc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992760" y="3320915"/>
            <a:ext cx="9791253" cy="136815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2200"/>
              </a:lnSpc>
              <a:defRPr sz="1800">
                <a:solidFill>
                  <a:schemeClr val="tx1"/>
                </a:solidFill>
              </a:defRPr>
            </a:lvl1pPr>
            <a:lvl2pPr marL="231775" indent="-227330">
              <a:lnSpc>
                <a:spcPts val="1800"/>
              </a:lnSpc>
              <a:defRPr sz="1600">
                <a:solidFill>
                  <a:schemeClr val="tx1"/>
                </a:solidFill>
              </a:defRPr>
            </a:lvl2pPr>
            <a:lvl3pPr marL="463550" indent="-231775">
              <a:lnSpc>
                <a:spcPts val="1600"/>
              </a:lnSpc>
              <a:defRPr sz="1400">
                <a:solidFill>
                  <a:schemeClr val="tx1"/>
                </a:solidFill>
              </a:defRPr>
            </a:lvl3pPr>
            <a:lvl4pPr marL="682625" indent="-219075">
              <a:lnSpc>
                <a:spcPts val="1400"/>
              </a:lnSpc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1992760" y="5085036"/>
            <a:ext cx="9791253" cy="136815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2200"/>
              </a:lnSpc>
              <a:defRPr sz="1800">
                <a:solidFill>
                  <a:schemeClr val="tx1"/>
                </a:solidFill>
              </a:defRPr>
            </a:lvl1pPr>
            <a:lvl2pPr marL="231775" indent="-227330">
              <a:lnSpc>
                <a:spcPts val="1800"/>
              </a:lnSpc>
              <a:defRPr sz="1600">
                <a:solidFill>
                  <a:schemeClr val="tx1"/>
                </a:solidFill>
              </a:defRPr>
            </a:lvl2pPr>
            <a:lvl3pPr marL="463550" indent="-231775">
              <a:lnSpc>
                <a:spcPts val="1600"/>
              </a:lnSpc>
              <a:defRPr sz="1400">
                <a:solidFill>
                  <a:schemeClr val="tx1"/>
                </a:solidFill>
              </a:defRPr>
            </a:lvl3pPr>
            <a:lvl4pPr marL="682625" indent="-219075">
              <a:lnSpc>
                <a:spcPts val="1400"/>
              </a:lnSpc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13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4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grpSp>
        <p:nvGrpSpPr>
          <p:cNvPr id="17" name="Group 4"/>
          <p:cNvGrpSpPr>
            <a:grpSpLocks noChangeAspect="1"/>
          </p:cNvGrpSpPr>
          <p:nvPr userDrawn="1"/>
        </p:nvGrpSpPr>
        <p:grpSpPr bwMode="auto">
          <a:xfrm>
            <a:off x="376729" y="3487371"/>
            <a:ext cx="1285954" cy="1201696"/>
            <a:chOff x="-163" y="-158"/>
            <a:chExt cx="2854" cy="2667"/>
          </a:xfrm>
        </p:grpSpPr>
        <p:sp>
          <p:nvSpPr>
            <p:cNvPr id="18" name="Freeform 5"/>
            <p:cNvSpPr/>
            <p:nvPr/>
          </p:nvSpPr>
          <p:spPr bwMode="auto">
            <a:xfrm>
              <a:off x="-163" y="-158"/>
              <a:ext cx="2854" cy="2667"/>
            </a:xfrm>
            <a:custGeom>
              <a:avLst/>
              <a:gdLst>
                <a:gd name="T0" fmla="*/ 153 w 1067"/>
                <a:gd name="T1" fmla="*/ 780 h 997"/>
                <a:gd name="T2" fmla="*/ 256 w 1067"/>
                <a:gd name="T3" fmla="*/ 149 h 997"/>
                <a:gd name="T4" fmla="*/ 914 w 1067"/>
                <a:gd name="T5" fmla="*/ 241 h 997"/>
                <a:gd name="T6" fmla="*/ 794 w 1067"/>
                <a:gd name="T7" fmla="*/ 848 h 997"/>
                <a:gd name="T8" fmla="*/ 153 w 1067"/>
                <a:gd name="T9" fmla="*/ 780 h 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7" h="997">
                  <a:moveTo>
                    <a:pt x="153" y="780"/>
                  </a:moveTo>
                  <a:cubicBezTo>
                    <a:pt x="0" y="580"/>
                    <a:pt x="46" y="297"/>
                    <a:pt x="256" y="149"/>
                  </a:cubicBezTo>
                  <a:cubicBezTo>
                    <a:pt x="466" y="0"/>
                    <a:pt x="760" y="42"/>
                    <a:pt x="914" y="241"/>
                  </a:cubicBezTo>
                  <a:cubicBezTo>
                    <a:pt x="1067" y="441"/>
                    <a:pt x="1004" y="700"/>
                    <a:pt x="794" y="848"/>
                  </a:cubicBezTo>
                  <a:cubicBezTo>
                    <a:pt x="584" y="997"/>
                    <a:pt x="307" y="979"/>
                    <a:pt x="153" y="780"/>
                  </a:cubicBezTo>
                </a:path>
              </a:pathLst>
            </a:custGeom>
            <a:solidFill>
              <a:srgbClr val="8708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19" name="Freeform 6"/>
            <p:cNvSpPr/>
            <p:nvPr/>
          </p:nvSpPr>
          <p:spPr bwMode="auto">
            <a:xfrm>
              <a:off x="677" y="535"/>
              <a:ext cx="465" cy="500"/>
            </a:xfrm>
            <a:custGeom>
              <a:avLst/>
              <a:gdLst>
                <a:gd name="T0" fmla="*/ 71 w 174"/>
                <a:gd name="T1" fmla="*/ 178 h 187"/>
                <a:gd name="T2" fmla="*/ 8 w 174"/>
                <a:gd name="T3" fmla="*/ 78 h 187"/>
                <a:gd name="T4" fmla="*/ 98 w 174"/>
                <a:gd name="T5" fmla="*/ 9 h 187"/>
                <a:gd name="T6" fmla="*/ 167 w 174"/>
                <a:gd name="T7" fmla="*/ 110 h 187"/>
                <a:gd name="T8" fmla="*/ 71 w 174"/>
                <a:gd name="T9" fmla="*/ 17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87">
                  <a:moveTo>
                    <a:pt x="71" y="178"/>
                  </a:moveTo>
                  <a:cubicBezTo>
                    <a:pt x="26" y="169"/>
                    <a:pt x="0" y="125"/>
                    <a:pt x="8" y="78"/>
                  </a:cubicBezTo>
                  <a:cubicBezTo>
                    <a:pt x="15" y="31"/>
                    <a:pt x="53" y="0"/>
                    <a:pt x="98" y="9"/>
                  </a:cubicBezTo>
                  <a:cubicBezTo>
                    <a:pt x="144" y="18"/>
                    <a:pt x="174" y="63"/>
                    <a:pt x="167" y="110"/>
                  </a:cubicBezTo>
                  <a:cubicBezTo>
                    <a:pt x="159" y="157"/>
                    <a:pt x="116" y="187"/>
                    <a:pt x="71" y="178"/>
                  </a:cubicBezTo>
                </a:path>
              </a:pathLst>
            </a:custGeom>
            <a:solidFill>
              <a:srgbClr val="FF30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20" name="Freeform 7"/>
            <p:cNvSpPr/>
            <p:nvPr/>
          </p:nvSpPr>
          <p:spPr bwMode="auto">
            <a:xfrm>
              <a:off x="500" y="1075"/>
              <a:ext cx="821" cy="543"/>
            </a:xfrm>
            <a:custGeom>
              <a:avLst/>
              <a:gdLst>
                <a:gd name="T0" fmla="*/ 49 w 307"/>
                <a:gd name="T1" fmla="*/ 182 h 203"/>
                <a:gd name="T2" fmla="*/ 8 w 307"/>
                <a:gd name="T3" fmla="*/ 118 h 203"/>
                <a:gd name="T4" fmla="*/ 192 w 307"/>
                <a:gd name="T5" fmla="*/ 23 h 203"/>
                <a:gd name="T6" fmla="*/ 303 w 307"/>
                <a:gd name="T7" fmla="*/ 135 h 203"/>
                <a:gd name="T8" fmla="*/ 307 w 307"/>
                <a:gd name="T9" fmla="*/ 172 h 203"/>
                <a:gd name="T10" fmla="*/ 49 w 307"/>
                <a:gd name="T11" fmla="*/ 18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7" h="203">
                  <a:moveTo>
                    <a:pt x="49" y="182"/>
                  </a:moveTo>
                  <a:cubicBezTo>
                    <a:pt x="19" y="177"/>
                    <a:pt x="0" y="148"/>
                    <a:pt x="8" y="118"/>
                  </a:cubicBezTo>
                  <a:cubicBezTo>
                    <a:pt x="24" y="58"/>
                    <a:pt x="85" y="0"/>
                    <a:pt x="192" y="23"/>
                  </a:cubicBezTo>
                  <a:cubicBezTo>
                    <a:pt x="246" y="35"/>
                    <a:pt x="291" y="79"/>
                    <a:pt x="303" y="135"/>
                  </a:cubicBezTo>
                  <a:cubicBezTo>
                    <a:pt x="306" y="148"/>
                    <a:pt x="307" y="160"/>
                    <a:pt x="307" y="172"/>
                  </a:cubicBezTo>
                  <a:cubicBezTo>
                    <a:pt x="236" y="169"/>
                    <a:pt x="168" y="203"/>
                    <a:pt x="49" y="182"/>
                  </a:cubicBezTo>
                </a:path>
              </a:pathLst>
            </a:custGeom>
            <a:solidFill>
              <a:srgbClr val="FF30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21" name="Freeform 8"/>
            <p:cNvSpPr/>
            <p:nvPr/>
          </p:nvSpPr>
          <p:spPr bwMode="auto">
            <a:xfrm>
              <a:off x="1249" y="575"/>
              <a:ext cx="527" cy="570"/>
            </a:xfrm>
            <a:custGeom>
              <a:avLst/>
              <a:gdLst>
                <a:gd name="T0" fmla="*/ 105 w 197"/>
                <a:gd name="T1" fmla="*/ 209 h 213"/>
                <a:gd name="T2" fmla="*/ 196 w 197"/>
                <a:gd name="T3" fmla="*/ 100 h 213"/>
                <a:gd name="T4" fmla="*/ 99 w 197"/>
                <a:gd name="T5" fmla="*/ 4 h 213"/>
                <a:gd name="T6" fmla="*/ 2 w 197"/>
                <a:gd name="T7" fmla="*/ 113 h 213"/>
                <a:gd name="T8" fmla="*/ 105 w 197"/>
                <a:gd name="T9" fmla="*/ 20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213">
                  <a:moveTo>
                    <a:pt x="105" y="209"/>
                  </a:moveTo>
                  <a:cubicBezTo>
                    <a:pt x="160" y="205"/>
                    <a:pt x="197" y="156"/>
                    <a:pt x="196" y="100"/>
                  </a:cubicBezTo>
                  <a:cubicBezTo>
                    <a:pt x="194" y="43"/>
                    <a:pt x="154" y="0"/>
                    <a:pt x="99" y="4"/>
                  </a:cubicBezTo>
                  <a:cubicBezTo>
                    <a:pt x="44" y="8"/>
                    <a:pt x="0" y="57"/>
                    <a:pt x="2" y="113"/>
                  </a:cubicBezTo>
                  <a:cubicBezTo>
                    <a:pt x="3" y="170"/>
                    <a:pt x="50" y="213"/>
                    <a:pt x="105" y="20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22" name="Freeform 9"/>
            <p:cNvSpPr/>
            <p:nvPr/>
          </p:nvSpPr>
          <p:spPr bwMode="auto">
            <a:xfrm>
              <a:off x="1017" y="1209"/>
              <a:ext cx="986" cy="647"/>
            </a:xfrm>
            <a:custGeom>
              <a:avLst/>
              <a:gdLst>
                <a:gd name="T0" fmla="*/ 1 w 369"/>
                <a:gd name="T1" fmla="*/ 207 h 242"/>
                <a:gd name="T2" fmla="*/ 5 w 369"/>
                <a:gd name="T3" fmla="*/ 162 h 242"/>
                <a:gd name="T4" fmla="*/ 137 w 369"/>
                <a:gd name="T5" fmla="*/ 28 h 242"/>
                <a:gd name="T6" fmla="*/ 356 w 369"/>
                <a:gd name="T7" fmla="*/ 131 h 242"/>
                <a:gd name="T8" fmla="*/ 304 w 369"/>
                <a:gd name="T9" fmla="*/ 218 h 242"/>
                <a:gd name="T10" fmla="*/ 1 w 369"/>
                <a:gd name="T11" fmla="*/ 20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9" h="242">
                  <a:moveTo>
                    <a:pt x="1" y="207"/>
                  </a:moveTo>
                  <a:cubicBezTo>
                    <a:pt x="0" y="193"/>
                    <a:pt x="2" y="178"/>
                    <a:pt x="5" y="162"/>
                  </a:cubicBezTo>
                  <a:cubicBezTo>
                    <a:pt x="20" y="95"/>
                    <a:pt x="72" y="42"/>
                    <a:pt x="137" y="28"/>
                  </a:cubicBezTo>
                  <a:cubicBezTo>
                    <a:pt x="260" y="0"/>
                    <a:pt x="333" y="62"/>
                    <a:pt x="356" y="131"/>
                  </a:cubicBezTo>
                  <a:cubicBezTo>
                    <a:pt x="369" y="170"/>
                    <a:pt x="344" y="212"/>
                    <a:pt x="304" y="218"/>
                  </a:cubicBezTo>
                  <a:cubicBezTo>
                    <a:pt x="165" y="242"/>
                    <a:pt x="85" y="203"/>
                    <a:pt x="1" y="20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</p:grpSp>
      <p:grpSp>
        <p:nvGrpSpPr>
          <p:cNvPr id="23" name="Group 30"/>
          <p:cNvGrpSpPr>
            <a:grpSpLocks noChangeAspect="1"/>
          </p:cNvGrpSpPr>
          <p:nvPr userDrawn="1"/>
        </p:nvGrpSpPr>
        <p:grpSpPr bwMode="auto">
          <a:xfrm>
            <a:off x="376729" y="1642923"/>
            <a:ext cx="1279250" cy="1195892"/>
            <a:chOff x="-223" y="-210"/>
            <a:chExt cx="3852" cy="3601"/>
          </a:xfrm>
        </p:grpSpPr>
        <p:sp>
          <p:nvSpPr>
            <p:cNvPr id="24" name="Freeform 31"/>
            <p:cNvSpPr/>
            <p:nvPr/>
          </p:nvSpPr>
          <p:spPr bwMode="auto">
            <a:xfrm>
              <a:off x="-223" y="-210"/>
              <a:ext cx="3852" cy="3601"/>
            </a:xfrm>
            <a:custGeom>
              <a:avLst/>
              <a:gdLst>
                <a:gd name="T0" fmla="*/ 207 w 1442"/>
                <a:gd name="T1" fmla="*/ 1053 h 1347"/>
                <a:gd name="T2" fmla="*/ 346 w 1442"/>
                <a:gd name="T3" fmla="*/ 201 h 1347"/>
                <a:gd name="T4" fmla="*/ 1235 w 1442"/>
                <a:gd name="T5" fmla="*/ 326 h 1347"/>
                <a:gd name="T6" fmla="*/ 1073 w 1442"/>
                <a:gd name="T7" fmla="*/ 1147 h 1347"/>
                <a:gd name="T8" fmla="*/ 207 w 1442"/>
                <a:gd name="T9" fmla="*/ 105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2" h="1347">
                  <a:moveTo>
                    <a:pt x="207" y="1053"/>
                  </a:moveTo>
                  <a:cubicBezTo>
                    <a:pt x="0" y="783"/>
                    <a:pt x="62" y="401"/>
                    <a:pt x="346" y="201"/>
                  </a:cubicBezTo>
                  <a:cubicBezTo>
                    <a:pt x="629" y="0"/>
                    <a:pt x="1028" y="56"/>
                    <a:pt x="1235" y="326"/>
                  </a:cubicBezTo>
                  <a:cubicBezTo>
                    <a:pt x="1442" y="596"/>
                    <a:pt x="1357" y="946"/>
                    <a:pt x="1073" y="1147"/>
                  </a:cubicBezTo>
                  <a:cubicBezTo>
                    <a:pt x="790" y="1347"/>
                    <a:pt x="415" y="1324"/>
                    <a:pt x="207" y="1053"/>
                  </a:cubicBezTo>
                </a:path>
              </a:pathLst>
            </a:custGeom>
            <a:solidFill>
              <a:srgbClr val="0070A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25" name="Freeform 32"/>
            <p:cNvSpPr/>
            <p:nvPr/>
          </p:nvSpPr>
          <p:spPr bwMode="auto">
            <a:xfrm>
              <a:off x="1284" y="672"/>
              <a:ext cx="870" cy="1045"/>
            </a:xfrm>
            <a:custGeom>
              <a:avLst/>
              <a:gdLst>
                <a:gd name="T0" fmla="*/ 71 w 326"/>
                <a:gd name="T1" fmla="*/ 391 h 391"/>
                <a:gd name="T2" fmla="*/ 1 w 326"/>
                <a:gd name="T3" fmla="*/ 390 h 391"/>
                <a:gd name="T4" fmla="*/ 0 w 326"/>
                <a:gd name="T5" fmla="*/ 172 h 391"/>
                <a:gd name="T6" fmla="*/ 95 w 326"/>
                <a:gd name="T7" fmla="*/ 13 h 391"/>
                <a:gd name="T8" fmla="*/ 223 w 326"/>
                <a:gd name="T9" fmla="*/ 8 h 391"/>
                <a:gd name="T10" fmla="*/ 326 w 326"/>
                <a:gd name="T11" fmla="*/ 164 h 391"/>
                <a:gd name="T12" fmla="*/ 326 w 326"/>
                <a:gd name="T13" fmla="*/ 385 h 391"/>
                <a:gd name="T14" fmla="*/ 263 w 326"/>
                <a:gd name="T15" fmla="*/ 385 h 391"/>
                <a:gd name="T16" fmla="*/ 263 w 326"/>
                <a:gd name="T17" fmla="*/ 164 h 391"/>
                <a:gd name="T18" fmla="*/ 210 w 326"/>
                <a:gd name="T19" fmla="*/ 78 h 391"/>
                <a:gd name="T20" fmla="*/ 117 w 326"/>
                <a:gd name="T21" fmla="*/ 80 h 391"/>
                <a:gd name="T22" fmla="*/ 71 w 326"/>
                <a:gd name="T23" fmla="*/ 172 h 391"/>
                <a:gd name="T24" fmla="*/ 71 w 326"/>
                <a:gd name="T25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6" h="391">
                  <a:moveTo>
                    <a:pt x="71" y="391"/>
                  </a:moveTo>
                  <a:cubicBezTo>
                    <a:pt x="1" y="390"/>
                    <a:pt x="1" y="390"/>
                    <a:pt x="1" y="390"/>
                  </a:cubicBezTo>
                  <a:cubicBezTo>
                    <a:pt x="2" y="324"/>
                    <a:pt x="0" y="174"/>
                    <a:pt x="0" y="172"/>
                  </a:cubicBezTo>
                  <a:cubicBezTo>
                    <a:pt x="0" y="140"/>
                    <a:pt x="0" y="43"/>
                    <a:pt x="95" y="13"/>
                  </a:cubicBezTo>
                  <a:cubicBezTo>
                    <a:pt x="132" y="1"/>
                    <a:pt x="176" y="0"/>
                    <a:pt x="223" y="8"/>
                  </a:cubicBezTo>
                  <a:cubicBezTo>
                    <a:pt x="289" y="20"/>
                    <a:pt x="326" y="77"/>
                    <a:pt x="326" y="164"/>
                  </a:cubicBezTo>
                  <a:cubicBezTo>
                    <a:pt x="326" y="385"/>
                    <a:pt x="326" y="385"/>
                    <a:pt x="326" y="385"/>
                  </a:cubicBezTo>
                  <a:cubicBezTo>
                    <a:pt x="263" y="385"/>
                    <a:pt x="263" y="385"/>
                    <a:pt x="263" y="385"/>
                  </a:cubicBezTo>
                  <a:cubicBezTo>
                    <a:pt x="263" y="164"/>
                    <a:pt x="263" y="164"/>
                    <a:pt x="263" y="164"/>
                  </a:cubicBezTo>
                  <a:cubicBezTo>
                    <a:pt x="263" y="112"/>
                    <a:pt x="240" y="86"/>
                    <a:pt x="210" y="78"/>
                  </a:cubicBezTo>
                  <a:cubicBezTo>
                    <a:pt x="176" y="69"/>
                    <a:pt x="142" y="73"/>
                    <a:pt x="117" y="80"/>
                  </a:cubicBezTo>
                  <a:cubicBezTo>
                    <a:pt x="89" y="89"/>
                    <a:pt x="71" y="108"/>
                    <a:pt x="71" y="172"/>
                  </a:cubicBezTo>
                  <a:cubicBezTo>
                    <a:pt x="71" y="178"/>
                    <a:pt x="73" y="325"/>
                    <a:pt x="71" y="391"/>
                  </a:cubicBezTo>
                </a:path>
              </a:pathLst>
            </a:custGeom>
            <a:solidFill>
              <a:srgbClr val="12AB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26" name="Freeform 33"/>
            <p:cNvSpPr/>
            <p:nvPr/>
          </p:nvSpPr>
          <p:spPr bwMode="auto">
            <a:xfrm>
              <a:off x="992" y="1429"/>
              <a:ext cx="1408" cy="927"/>
            </a:xfrm>
            <a:custGeom>
              <a:avLst/>
              <a:gdLst>
                <a:gd name="T0" fmla="*/ 98 w 527"/>
                <a:gd name="T1" fmla="*/ 344 h 347"/>
                <a:gd name="T2" fmla="*/ 433 w 527"/>
                <a:gd name="T3" fmla="*/ 344 h 347"/>
                <a:gd name="T4" fmla="*/ 524 w 527"/>
                <a:gd name="T5" fmla="*/ 231 h 347"/>
                <a:gd name="T6" fmla="*/ 524 w 527"/>
                <a:gd name="T7" fmla="*/ 12 h 347"/>
                <a:gd name="T8" fmla="*/ 97 w 527"/>
                <a:gd name="T9" fmla="*/ 7 h 347"/>
                <a:gd name="T10" fmla="*/ 0 w 527"/>
                <a:gd name="T11" fmla="*/ 121 h 347"/>
                <a:gd name="T12" fmla="*/ 1 w 527"/>
                <a:gd name="T13" fmla="*/ 258 h 347"/>
                <a:gd name="T14" fmla="*/ 98 w 527"/>
                <a:gd name="T15" fmla="*/ 344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7" h="347">
                  <a:moveTo>
                    <a:pt x="98" y="344"/>
                  </a:moveTo>
                  <a:cubicBezTo>
                    <a:pt x="154" y="347"/>
                    <a:pt x="392" y="347"/>
                    <a:pt x="433" y="344"/>
                  </a:cubicBezTo>
                  <a:cubicBezTo>
                    <a:pt x="507" y="337"/>
                    <a:pt x="527" y="325"/>
                    <a:pt x="524" y="231"/>
                  </a:cubicBezTo>
                  <a:cubicBezTo>
                    <a:pt x="524" y="231"/>
                    <a:pt x="524" y="98"/>
                    <a:pt x="524" y="12"/>
                  </a:cubicBezTo>
                  <a:cubicBezTo>
                    <a:pt x="399" y="5"/>
                    <a:pt x="172" y="0"/>
                    <a:pt x="97" y="7"/>
                  </a:cubicBezTo>
                  <a:cubicBezTo>
                    <a:pt x="29" y="13"/>
                    <a:pt x="0" y="31"/>
                    <a:pt x="0" y="121"/>
                  </a:cubicBezTo>
                  <a:cubicBezTo>
                    <a:pt x="1" y="258"/>
                    <a:pt x="1" y="258"/>
                    <a:pt x="1" y="258"/>
                  </a:cubicBezTo>
                  <a:cubicBezTo>
                    <a:pt x="1" y="326"/>
                    <a:pt x="23" y="341"/>
                    <a:pt x="98" y="34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30" name="Freeform 34"/>
            <p:cNvSpPr/>
            <p:nvPr/>
          </p:nvSpPr>
          <p:spPr bwMode="auto">
            <a:xfrm>
              <a:off x="1599" y="1621"/>
              <a:ext cx="270" cy="292"/>
            </a:xfrm>
            <a:custGeom>
              <a:avLst/>
              <a:gdLst>
                <a:gd name="T0" fmla="*/ 54 w 101"/>
                <a:gd name="T1" fmla="*/ 107 h 109"/>
                <a:gd name="T2" fmla="*/ 101 w 101"/>
                <a:gd name="T3" fmla="*/ 51 h 109"/>
                <a:gd name="T4" fmla="*/ 51 w 101"/>
                <a:gd name="T5" fmla="*/ 2 h 109"/>
                <a:gd name="T6" fmla="*/ 1 w 101"/>
                <a:gd name="T7" fmla="*/ 58 h 109"/>
                <a:gd name="T8" fmla="*/ 54 w 101"/>
                <a:gd name="T9" fmla="*/ 10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9">
                  <a:moveTo>
                    <a:pt x="54" y="107"/>
                  </a:moveTo>
                  <a:cubicBezTo>
                    <a:pt x="82" y="105"/>
                    <a:pt x="101" y="80"/>
                    <a:pt x="101" y="51"/>
                  </a:cubicBezTo>
                  <a:cubicBezTo>
                    <a:pt x="100" y="22"/>
                    <a:pt x="79" y="0"/>
                    <a:pt x="51" y="2"/>
                  </a:cubicBezTo>
                  <a:cubicBezTo>
                    <a:pt x="22" y="3"/>
                    <a:pt x="0" y="29"/>
                    <a:pt x="1" y="58"/>
                  </a:cubicBezTo>
                  <a:cubicBezTo>
                    <a:pt x="2" y="87"/>
                    <a:pt x="25" y="109"/>
                    <a:pt x="54" y="107"/>
                  </a:cubicBezTo>
                </a:path>
              </a:pathLst>
            </a:custGeom>
            <a:solidFill>
              <a:srgbClr val="95E61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31" name="Freeform 35"/>
            <p:cNvSpPr/>
            <p:nvPr/>
          </p:nvSpPr>
          <p:spPr bwMode="auto">
            <a:xfrm>
              <a:off x="1615" y="1878"/>
              <a:ext cx="238" cy="273"/>
            </a:xfrm>
            <a:custGeom>
              <a:avLst/>
              <a:gdLst>
                <a:gd name="T0" fmla="*/ 67 w 238"/>
                <a:gd name="T1" fmla="*/ 0 h 273"/>
                <a:gd name="T2" fmla="*/ 0 w 238"/>
                <a:gd name="T3" fmla="*/ 273 h 273"/>
                <a:gd name="T4" fmla="*/ 238 w 238"/>
                <a:gd name="T5" fmla="*/ 273 h 273"/>
                <a:gd name="T6" fmla="*/ 165 w 238"/>
                <a:gd name="T7" fmla="*/ 0 h 273"/>
                <a:gd name="T8" fmla="*/ 67 w 238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273">
                  <a:moveTo>
                    <a:pt x="67" y="0"/>
                  </a:moveTo>
                  <a:lnTo>
                    <a:pt x="0" y="273"/>
                  </a:lnTo>
                  <a:lnTo>
                    <a:pt x="238" y="273"/>
                  </a:lnTo>
                  <a:lnTo>
                    <a:pt x="165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</p:grpSp>
      <p:grpSp>
        <p:nvGrpSpPr>
          <p:cNvPr id="32" name="Group 12"/>
          <p:cNvGrpSpPr>
            <a:grpSpLocks noChangeAspect="1"/>
          </p:cNvGrpSpPr>
          <p:nvPr userDrawn="1"/>
        </p:nvGrpSpPr>
        <p:grpSpPr bwMode="auto">
          <a:xfrm>
            <a:off x="376729" y="5168264"/>
            <a:ext cx="1288364" cy="1201696"/>
            <a:chOff x="-60" y="-50"/>
            <a:chExt cx="996" cy="929"/>
          </a:xfrm>
        </p:grpSpPr>
        <p:sp>
          <p:nvSpPr>
            <p:cNvPr id="33" name="Freeform 13"/>
            <p:cNvSpPr/>
            <p:nvPr/>
          </p:nvSpPr>
          <p:spPr bwMode="auto">
            <a:xfrm>
              <a:off x="-60" y="-50"/>
              <a:ext cx="996" cy="929"/>
            </a:xfrm>
            <a:custGeom>
              <a:avLst/>
              <a:gdLst>
                <a:gd name="T0" fmla="*/ 54 w 370"/>
                <a:gd name="T1" fmla="*/ 269 h 345"/>
                <a:gd name="T2" fmla="*/ 89 w 370"/>
                <a:gd name="T3" fmla="*/ 51 h 345"/>
                <a:gd name="T4" fmla="*/ 317 w 370"/>
                <a:gd name="T5" fmla="*/ 83 h 345"/>
                <a:gd name="T6" fmla="*/ 275 w 370"/>
                <a:gd name="T7" fmla="*/ 293 h 345"/>
                <a:gd name="T8" fmla="*/ 54 w 370"/>
                <a:gd name="T9" fmla="*/ 269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45">
                  <a:moveTo>
                    <a:pt x="54" y="269"/>
                  </a:moveTo>
                  <a:cubicBezTo>
                    <a:pt x="0" y="200"/>
                    <a:pt x="16" y="103"/>
                    <a:pt x="89" y="51"/>
                  </a:cubicBezTo>
                  <a:cubicBezTo>
                    <a:pt x="162" y="0"/>
                    <a:pt x="264" y="14"/>
                    <a:pt x="317" y="83"/>
                  </a:cubicBezTo>
                  <a:cubicBezTo>
                    <a:pt x="370" y="152"/>
                    <a:pt x="348" y="242"/>
                    <a:pt x="275" y="293"/>
                  </a:cubicBezTo>
                  <a:cubicBezTo>
                    <a:pt x="203" y="345"/>
                    <a:pt x="107" y="339"/>
                    <a:pt x="54" y="269"/>
                  </a:cubicBezTo>
                </a:path>
              </a:pathLst>
            </a:custGeom>
            <a:solidFill>
              <a:srgbClr val="14596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34" name="Freeform 14"/>
            <p:cNvSpPr/>
            <p:nvPr/>
          </p:nvSpPr>
          <p:spPr bwMode="auto">
            <a:xfrm>
              <a:off x="287" y="152"/>
              <a:ext cx="296" cy="533"/>
            </a:xfrm>
            <a:custGeom>
              <a:avLst/>
              <a:gdLst>
                <a:gd name="T0" fmla="*/ 78 w 110"/>
                <a:gd name="T1" fmla="*/ 1 h 198"/>
                <a:gd name="T2" fmla="*/ 31 w 110"/>
                <a:gd name="T3" fmla="*/ 2 h 198"/>
                <a:gd name="T4" fmla="*/ 0 w 110"/>
                <a:gd name="T5" fmla="*/ 38 h 198"/>
                <a:gd name="T6" fmla="*/ 0 w 110"/>
                <a:gd name="T7" fmla="*/ 53 h 198"/>
                <a:gd name="T8" fmla="*/ 2 w 110"/>
                <a:gd name="T9" fmla="*/ 193 h 198"/>
                <a:gd name="T10" fmla="*/ 78 w 110"/>
                <a:gd name="T11" fmla="*/ 196 h 198"/>
                <a:gd name="T12" fmla="*/ 110 w 110"/>
                <a:gd name="T13" fmla="*/ 161 h 198"/>
                <a:gd name="T14" fmla="*/ 110 w 110"/>
                <a:gd name="T15" fmla="*/ 29 h 198"/>
                <a:gd name="T16" fmla="*/ 78 w 110"/>
                <a:gd name="T17" fmla="*/ 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198">
                  <a:moveTo>
                    <a:pt x="78" y="1"/>
                  </a:moveTo>
                  <a:cubicBezTo>
                    <a:pt x="60" y="0"/>
                    <a:pt x="44" y="1"/>
                    <a:pt x="31" y="2"/>
                  </a:cubicBezTo>
                  <a:cubicBezTo>
                    <a:pt x="6" y="4"/>
                    <a:pt x="0" y="14"/>
                    <a:pt x="0" y="3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" y="77"/>
                    <a:pt x="4" y="166"/>
                    <a:pt x="2" y="193"/>
                  </a:cubicBezTo>
                  <a:cubicBezTo>
                    <a:pt x="9" y="195"/>
                    <a:pt x="54" y="198"/>
                    <a:pt x="78" y="196"/>
                  </a:cubicBezTo>
                  <a:cubicBezTo>
                    <a:pt x="101" y="194"/>
                    <a:pt x="110" y="190"/>
                    <a:pt x="110" y="161"/>
                  </a:cubicBezTo>
                  <a:cubicBezTo>
                    <a:pt x="110" y="29"/>
                    <a:pt x="110" y="29"/>
                    <a:pt x="110" y="29"/>
                  </a:cubicBezTo>
                  <a:cubicBezTo>
                    <a:pt x="110" y="7"/>
                    <a:pt x="103" y="2"/>
                    <a:pt x="78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35" name="Freeform 15"/>
            <p:cNvSpPr/>
            <p:nvPr/>
          </p:nvSpPr>
          <p:spPr bwMode="auto">
            <a:xfrm>
              <a:off x="312" y="203"/>
              <a:ext cx="247" cy="369"/>
            </a:xfrm>
            <a:custGeom>
              <a:avLst/>
              <a:gdLst>
                <a:gd name="T0" fmla="*/ 90 w 92"/>
                <a:gd name="T1" fmla="*/ 137 h 137"/>
                <a:gd name="T2" fmla="*/ 3 w 92"/>
                <a:gd name="T3" fmla="*/ 135 h 137"/>
                <a:gd name="T4" fmla="*/ 2 w 92"/>
                <a:gd name="T5" fmla="*/ 4 h 137"/>
                <a:gd name="T6" fmla="*/ 91 w 92"/>
                <a:gd name="T7" fmla="*/ 2 h 137"/>
                <a:gd name="T8" fmla="*/ 90 w 92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37">
                  <a:moveTo>
                    <a:pt x="90" y="137"/>
                  </a:moveTo>
                  <a:cubicBezTo>
                    <a:pt x="3" y="135"/>
                    <a:pt x="3" y="135"/>
                    <a:pt x="3" y="135"/>
                  </a:cubicBezTo>
                  <a:cubicBezTo>
                    <a:pt x="3" y="135"/>
                    <a:pt x="0" y="49"/>
                    <a:pt x="2" y="4"/>
                  </a:cubicBezTo>
                  <a:cubicBezTo>
                    <a:pt x="29" y="1"/>
                    <a:pt x="65" y="0"/>
                    <a:pt x="91" y="2"/>
                  </a:cubicBezTo>
                  <a:cubicBezTo>
                    <a:pt x="92" y="64"/>
                    <a:pt x="90" y="137"/>
                    <a:pt x="90" y="137"/>
                  </a:cubicBezTo>
                </a:path>
              </a:pathLst>
            </a:custGeom>
            <a:solidFill>
              <a:srgbClr val="00C27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36" name="Freeform 16"/>
            <p:cNvSpPr/>
            <p:nvPr/>
          </p:nvSpPr>
          <p:spPr bwMode="auto">
            <a:xfrm>
              <a:off x="411" y="596"/>
              <a:ext cx="49" cy="54"/>
            </a:xfrm>
            <a:custGeom>
              <a:avLst/>
              <a:gdLst>
                <a:gd name="T0" fmla="*/ 10 w 18"/>
                <a:gd name="T1" fmla="*/ 19 h 20"/>
                <a:gd name="T2" fmla="*/ 18 w 18"/>
                <a:gd name="T3" fmla="*/ 9 h 20"/>
                <a:gd name="T4" fmla="*/ 9 w 18"/>
                <a:gd name="T5" fmla="*/ 0 h 20"/>
                <a:gd name="T6" fmla="*/ 0 w 18"/>
                <a:gd name="T7" fmla="*/ 10 h 20"/>
                <a:gd name="T8" fmla="*/ 10 w 18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0">
                  <a:moveTo>
                    <a:pt x="10" y="19"/>
                  </a:moveTo>
                  <a:cubicBezTo>
                    <a:pt x="15" y="19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ubicBezTo>
                    <a:pt x="4" y="1"/>
                    <a:pt x="0" y="5"/>
                    <a:pt x="0" y="10"/>
                  </a:cubicBezTo>
                  <a:cubicBezTo>
                    <a:pt x="0" y="16"/>
                    <a:pt x="4" y="20"/>
                    <a:pt x="10" y="19"/>
                  </a:cubicBezTo>
                </a:path>
              </a:pathLst>
            </a:custGeom>
            <a:solidFill>
              <a:srgbClr val="95E61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e Charts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 userDrawn="1"/>
        </p:nvSpPr>
        <p:spPr>
          <a:xfrm>
            <a:off x="0" y="1773238"/>
            <a:ext cx="12192000" cy="3023914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8" name="Chart Placeholder 29"/>
          <p:cNvSpPr>
            <a:spLocks noGrp="1"/>
          </p:cNvSpPr>
          <p:nvPr>
            <p:ph type="chart" sz="quarter" idx="39"/>
          </p:nvPr>
        </p:nvSpPr>
        <p:spPr>
          <a:xfrm>
            <a:off x="6601524" y="2032333"/>
            <a:ext cx="1728192" cy="161745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 dirty="0"/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911424" y="3717032"/>
            <a:ext cx="2376264" cy="72008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ts val="14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0" name="Chart Placeholder 29"/>
          <p:cNvSpPr>
            <a:spLocks noGrp="1"/>
          </p:cNvSpPr>
          <p:nvPr userDrawn="1">
            <p:ph type="chart" sz="quarter" idx="10"/>
          </p:nvPr>
        </p:nvSpPr>
        <p:spPr>
          <a:xfrm>
            <a:off x="1235460" y="2027570"/>
            <a:ext cx="1728192" cy="161745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02767" y="2708275"/>
            <a:ext cx="864842" cy="31432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1600" b="1"/>
            </a:lvl1pPr>
          </a:lstStyle>
          <a:p>
            <a:pPr lvl="0"/>
            <a:r>
              <a:rPr lang="pt-PT" dirty="0"/>
              <a:t>XX%</a:t>
            </a:r>
            <a:endParaRPr lang="pt-PT" dirty="0"/>
          </a:p>
        </p:txBody>
      </p:sp>
      <p:sp>
        <p:nvSpPr>
          <p:cNvPr id="34" name="Text Placeholder 7"/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3594456" y="3717032"/>
            <a:ext cx="2376264" cy="72008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ts val="14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5" name="Chart Placeholder 29"/>
          <p:cNvSpPr>
            <a:spLocks noGrp="1"/>
          </p:cNvSpPr>
          <p:nvPr userDrawn="1">
            <p:ph type="chart" sz="quarter" idx="36"/>
          </p:nvPr>
        </p:nvSpPr>
        <p:spPr>
          <a:xfrm>
            <a:off x="3918492" y="2027570"/>
            <a:ext cx="1728192" cy="161745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 dirty="0"/>
          </a:p>
        </p:txBody>
      </p:sp>
      <p:sp>
        <p:nvSpPr>
          <p:cNvPr id="36" name="Text Placeholder 31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379763" y="2708275"/>
            <a:ext cx="864842" cy="31432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1600" b="1"/>
            </a:lvl1pPr>
          </a:lstStyle>
          <a:p>
            <a:pPr lvl="0"/>
            <a:r>
              <a:rPr lang="pt-PT" dirty="0"/>
              <a:t>XX%</a:t>
            </a:r>
            <a:endParaRPr lang="pt-PT" dirty="0"/>
          </a:p>
        </p:txBody>
      </p:sp>
      <p:sp>
        <p:nvSpPr>
          <p:cNvPr id="37" name="Text Placeholder 7"/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6277488" y="3717032"/>
            <a:ext cx="2376264" cy="72008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ts val="14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9" name="Text Placeholder 31"/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7046763" y="2708275"/>
            <a:ext cx="864842" cy="31432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1600" b="1"/>
            </a:lvl1pPr>
          </a:lstStyle>
          <a:p>
            <a:pPr lvl="0"/>
            <a:r>
              <a:rPr lang="pt-PT" dirty="0"/>
              <a:t>XX%</a:t>
            </a:r>
            <a:endParaRPr lang="pt-PT" dirty="0"/>
          </a:p>
        </p:txBody>
      </p:sp>
      <p:sp>
        <p:nvSpPr>
          <p:cNvPr id="40" name="Chart Placeholder 29"/>
          <p:cNvSpPr>
            <a:spLocks noGrp="1"/>
          </p:cNvSpPr>
          <p:nvPr userDrawn="1">
            <p:ph type="chart" sz="quarter" idx="41"/>
          </p:nvPr>
        </p:nvSpPr>
        <p:spPr>
          <a:xfrm>
            <a:off x="9284556" y="2032333"/>
            <a:ext cx="1728192" cy="161745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 dirty="0"/>
          </a:p>
        </p:txBody>
      </p:sp>
      <p:sp>
        <p:nvSpPr>
          <p:cNvPr id="41" name="Text Placeholder 7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960520" y="3717032"/>
            <a:ext cx="2376264" cy="72008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ts val="1400"/>
              </a:lnSpc>
              <a:spcBef>
                <a:spcPts val="600"/>
              </a:spcBef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2" name="Text Placeholder 31"/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9751863" y="2708275"/>
            <a:ext cx="864842" cy="31432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1600" b="1"/>
            </a:lvl1pPr>
          </a:lstStyle>
          <a:p>
            <a:pPr lvl="0"/>
            <a:r>
              <a:rPr lang="pt-PT" dirty="0"/>
              <a:t>XX%</a:t>
            </a:r>
            <a:endParaRPr lang="pt-PT" dirty="0"/>
          </a:p>
        </p:txBody>
      </p:sp>
      <p:sp>
        <p:nvSpPr>
          <p:cNvPr id="43" name="Text Placeholder 7"/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1127448" y="5308653"/>
            <a:ext cx="1656184" cy="57606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3200"/>
              </a:lnSpc>
              <a:defRPr sz="2800" b="1">
                <a:solidFill>
                  <a:srgbClr val="2B0A3D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xx%</a:t>
            </a:r>
            <a:endParaRPr lang="en-US" dirty="0"/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2883395" y="5163112"/>
            <a:ext cx="8399412" cy="86714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0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1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809551" y="-1667562"/>
            <a:ext cx="1706401" cy="5030555"/>
          </a:xfrm>
          <a:prstGeom prst="rect">
            <a:avLst/>
          </a:prstGeom>
        </p:spPr>
      </p:pic>
      <p:sp>
        <p:nvSpPr>
          <p:cNvPr id="27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8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ullets with highligh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val 20"/>
          <p:cNvSpPr/>
          <p:nvPr userDrawn="1"/>
        </p:nvSpPr>
        <p:spPr>
          <a:xfrm>
            <a:off x="5563594" y="47340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2" name="Oval 20"/>
          <p:cNvSpPr/>
          <p:nvPr userDrawn="1"/>
        </p:nvSpPr>
        <p:spPr>
          <a:xfrm>
            <a:off x="5563595" y="2944149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FF3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3" name="Oval 20"/>
          <p:cNvSpPr/>
          <p:nvPr userDrawn="1"/>
        </p:nvSpPr>
        <p:spPr>
          <a:xfrm>
            <a:off x="5516146" y="118605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Rectangle 12"/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14" name="Graphic 41"/>
          <p:cNvPicPr>
            <a:picLocks noChangeAspect="1"/>
          </p:cNvPicPr>
          <p:nvPr userDrawn="1"/>
        </p:nvPicPr>
        <p:blipFill>
          <a:blip r:embed="rId2"/>
          <a:srcRect t="7669"/>
          <a:stretch>
            <a:fillRect/>
          </a:stretch>
        </p:blipFill>
        <p:spPr>
          <a:xfrm rot="7221508" flipH="1" flipV="1">
            <a:off x="-510401" y="-999749"/>
            <a:ext cx="4694967" cy="4418573"/>
          </a:xfrm>
          <a:custGeom>
            <a:avLst/>
            <a:gdLst>
              <a:gd name="connsiteX0" fmla="*/ 0 w 6728158"/>
              <a:gd name="connsiteY0" fmla="*/ 6332069 h 6332069"/>
              <a:gd name="connsiteX1" fmla="*/ 6728158 w 6728158"/>
              <a:gd name="connsiteY1" fmla="*/ 6332069 h 6332069"/>
              <a:gd name="connsiteX2" fmla="*/ 6728158 w 6728158"/>
              <a:gd name="connsiteY2" fmla="*/ 5480387 h 6332069"/>
              <a:gd name="connsiteX3" fmla="*/ 3518172 w 6728158"/>
              <a:gd name="connsiteY3" fmla="*/ 0 h 6332069"/>
              <a:gd name="connsiteX4" fmla="*/ 0 w 6728158"/>
              <a:gd name="connsiteY4" fmla="*/ 2060673 h 6332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28158" h="6332069">
                <a:moveTo>
                  <a:pt x="0" y="6332069"/>
                </a:moveTo>
                <a:lnTo>
                  <a:pt x="6728158" y="6332069"/>
                </a:lnTo>
                <a:lnTo>
                  <a:pt x="6728158" y="5480387"/>
                </a:lnTo>
                <a:lnTo>
                  <a:pt x="3518172" y="0"/>
                </a:lnTo>
                <a:lnTo>
                  <a:pt x="0" y="2060673"/>
                </a:lnTo>
                <a:close/>
              </a:path>
            </a:pathLst>
          </a:custGeom>
        </p:spPr>
      </p:pic>
      <p:sp>
        <p:nvSpPr>
          <p:cNvPr id="24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713875" y="1525457"/>
            <a:ext cx="863263" cy="482705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ctr">
              <a:lnSpc>
                <a:spcPts val="3000"/>
              </a:lnSpc>
              <a:defRPr sz="2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5713875" y="3284120"/>
            <a:ext cx="863263" cy="482705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ctr">
              <a:lnSpc>
                <a:spcPts val="3000"/>
              </a:lnSpc>
              <a:defRPr sz="2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713875" y="5061942"/>
            <a:ext cx="863263" cy="482705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ctr">
              <a:lnSpc>
                <a:spcPts val="3000"/>
              </a:lnSpc>
              <a:defRPr sz="2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426716" y="3367132"/>
            <a:ext cx="3670826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1800"/>
              </a:lnSpc>
              <a:buClr>
                <a:schemeClr val="accent3"/>
              </a:buClr>
              <a:defRPr sz="1600"/>
            </a:lvl2pPr>
            <a:lvl3pPr>
              <a:lnSpc>
                <a:spcPts val="1600"/>
              </a:lnSpc>
              <a:buClr>
                <a:schemeClr val="accent3"/>
              </a:buClr>
              <a:defRPr sz="1400"/>
            </a:lvl3pPr>
            <a:lvl4pPr>
              <a:lnSpc>
                <a:spcPts val="1400"/>
              </a:lnSpc>
              <a:buClr>
                <a:schemeClr val="accent3"/>
              </a:buClr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2"/>
            <a:ext cx="2663676" cy="158402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917889" y="825195"/>
            <a:ext cx="4866123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6917889" y="1268413"/>
            <a:ext cx="4866123" cy="9967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buClr>
                <a:schemeClr val="accent3"/>
              </a:buClr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buClr>
                <a:schemeClr val="accent3"/>
              </a:buClr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buClr>
                <a:schemeClr val="accent3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917889" y="2583858"/>
            <a:ext cx="4866123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6917889" y="3027076"/>
            <a:ext cx="4866123" cy="9967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buClr>
                <a:schemeClr val="accent3"/>
              </a:buClr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buClr>
                <a:schemeClr val="accent3"/>
              </a:buClr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buClr>
                <a:schemeClr val="accent3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6917889" y="4361680"/>
            <a:ext cx="4866123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917889" y="4804898"/>
            <a:ext cx="4866123" cy="9967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buClr>
                <a:schemeClr val="accent3"/>
              </a:buClr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buClr>
                <a:schemeClr val="accent3"/>
              </a:buClr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buClr>
                <a:schemeClr val="accent3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37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40" name="Retângulo 43"/>
          <p:cNvSpPr/>
          <p:nvPr userDrawn="1"/>
        </p:nvSpPr>
        <p:spPr>
          <a:xfrm>
            <a:off x="9560327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1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3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4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6638114" y="662159"/>
            <a:ext cx="488366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3000"/>
              </a:lnSpc>
              <a:defRPr sz="26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0"/>
          </p:nvPr>
        </p:nvSpPr>
        <p:spPr>
          <a:xfrm>
            <a:off x="6638114" y="4374297"/>
            <a:ext cx="488366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3000"/>
              </a:lnSpc>
              <a:defRPr sz="26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6638113" y="4810699"/>
            <a:ext cx="4883670" cy="1717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/>
            </a:lvl1pPr>
            <a:lvl2pPr marL="173355" indent="-168275">
              <a:lnSpc>
                <a:spcPts val="1400"/>
              </a:lnSpc>
              <a:defRPr sz="1200"/>
            </a:lvl2pPr>
            <a:lvl3pPr marL="347980" indent="-174625">
              <a:lnSpc>
                <a:spcPts val="1200"/>
              </a:lnSpc>
              <a:defRPr sz="1100"/>
            </a:lvl3pPr>
            <a:lvl4pPr marL="405130" indent="-116205">
              <a:lnSpc>
                <a:spcPts val="1100"/>
              </a:lnSpc>
              <a:defRPr sz="10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6638113" y="1265729"/>
            <a:ext cx="1981648" cy="10583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3"/>
          </p:nvPr>
        </p:nvSpPr>
        <p:spPr>
          <a:xfrm>
            <a:off x="9473096" y="1265729"/>
            <a:ext cx="1981648" cy="10583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4"/>
          </p:nvPr>
        </p:nvSpPr>
        <p:spPr>
          <a:xfrm>
            <a:off x="6638113" y="2455544"/>
            <a:ext cx="1981648" cy="10583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5"/>
          </p:nvPr>
        </p:nvSpPr>
        <p:spPr>
          <a:xfrm>
            <a:off x="9473096" y="2455544"/>
            <a:ext cx="1981648" cy="10583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22" name="Freeform: Shape 21"/>
          <p:cNvSpPr/>
          <p:nvPr userDrawn="1"/>
        </p:nvSpPr>
        <p:spPr bwMode="auto">
          <a:xfrm>
            <a:off x="0" y="0"/>
            <a:ext cx="6314264" cy="6858000"/>
          </a:xfrm>
          <a:custGeom>
            <a:avLst/>
            <a:gdLst>
              <a:gd name="connsiteX0" fmla="*/ 0 w 6314264"/>
              <a:gd name="connsiteY0" fmla="*/ 0 h 6850062"/>
              <a:gd name="connsiteX1" fmla="*/ 2371778 w 6314264"/>
              <a:gd name="connsiteY1" fmla="*/ 0 h 6850062"/>
              <a:gd name="connsiteX2" fmla="*/ 5821131 w 6314264"/>
              <a:gd name="connsiteY2" fmla="*/ 4462172 h 6850062"/>
              <a:gd name="connsiteX3" fmla="*/ 5967979 w 6314264"/>
              <a:gd name="connsiteY3" fmla="*/ 6737018 h 6850062"/>
              <a:gd name="connsiteX4" fmla="*/ 5901053 w 6314264"/>
              <a:gd name="connsiteY4" fmla="*/ 6850062 h 6850062"/>
              <a:gd name="connsiteX5" fmla="*/ 0 w 6314264"/>
              <a:gd name="connsiteY5" fmla="*/ 6850062 h 6850062"/>
              <a:gd name="connsiteX6" fmla="*/ 0 w 6314264"/>
              <a:gd name="connsiteY6" fmla="*/ 6791481 h 6850062"/>
              <a:gd name="connsiteX7" fmla="*/ 0 w 6314264"/>
              <a:gd name="connsiteY7" fmla="*/ 0 h 685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14264" h="6850062">
                <a:moveTo>
                  <a:pt x="0" y="0"/>
                </a:moveTo>
                <a:cubicBezTo>
                  <a:pt x="0" y="0"/>
                  <a:pt x="0" y="0"/>
                  <a:pt x="2371778" y="0"/>
                </a:cubicBezTo>
                <a:cubicBezTo>
                  <a:pt x="2402328" y="4520519"/>
                  <a:pt x="6334924" y="5918074"/>
                  <a:pt x="5821131" y="4462172"/>
                </a:cubicBezTo>
                <a:cubicBezTo>
                  <a:pt x="6272436" y="4633046"/>
                  <a:pt x="6588349" y="5598554"/>
                  <a:pt x="5967979" y="6737018"/>
                </a:cubicBezTo>
                <a:lnTo>
                  <a:pt x="5901053" y="6850062"/>
                </a:lnTo>
                <a:lnTo>
                  <a:pt x="0" y="6850062"/>
                </a:lnTo>
                <a:lnTo>
                  <a:pt x="0" y="6791481"/>
                </a:lnTo>
                <a:cubicBezTo>
                  <a:pt x="0" y="5305461"/>
                  <a:pt x="0" y="3143977"/>
                  <a:pt x="0" y="0"/>
                </a:cubicBezTo>
                <a:close/>
              </a:path>
            </a:pathLst>
          </a:custGeom>
          <a:solidFill>
            <a:srgbClr val="2C004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pt-PT"/>
          </a:p>
        </p:txBody>
      </p:sp>
      <p:sp>
        <p:nvSpPr>
          <p:cNvPr id="23" name="Freeform 26"/>
          <p:cNvSpPr/>
          <p:nvPr userDrawn="1"/>
        </p:nvSpPr>
        <p:spPr bwMode="auto">
          <a:xfrm>
            <a:off x="5688408" y="4703082"/>
            <a:ext cx="414338" cy="339383"/>
          </a:xfrm>
          <a:custGeom>
            <a:avLst/>
            <a:gdLst>
              <a:gd name="T0" fmla="*/ 99 w 149"/>
              <a:gd name="T1" fmla="*/ 85 h 122"/>
              <a:gd name="T2" fmla="*/ 149 w 149"/>
              <a:gd name="T3" fmla="*/ 34 h 122"/>
              <a:gd name="T4" fmla="*/ 112 w 149"/>
              <a:gd name="T5" fmla="*/ 0 h 122"/>
              <a:gd name="T6" fmla="*/ 39 w 149"/>
              <a:gd name="T7" fmla="*/ 78 h 122"/>
              <a:gd name="T8" fmla="*/ 0 w 149"/>
              <a:gd name="T9" fmla="*/ 114 h 122"/>
              <a:gd name="T10" fmla="*/ 29 w 149"/>
              <a:gd name="T11" fmla="*/ 122 h 122"/>
              <a:gd name="T12" fmla="*/ 99 w 149"/>
              <a:gd name="T13" fmla="*/ 99 h 122"/>
              <a:gd name="T14" fmla="*/ 64 w 149"/>
              <a:gd name="T15" fmla="*/ 68 h 122"/>
              <a:gd name="T16" fmla="*/ 99 w 149"/>
              <a:gd name="T17" fmla="*/ 85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9" h="122">
                <a:moveTo>
                  <a:pt x="99" y="85"/>
                </a:moveTo>
                <a:cubicBezTo>
                  <a:pt x="127" y="85"/>
                  <a:pt x="149" y="62"/>
                  <a:pt x="149" y="34"/>
                </a:cubicBezTo>
                <a:cubicBezTo>
                  <a:pt x="147" y="22"/>
                  <a:pt x="143" y="0"/>
                  <a:pt x="112" y="0"/>
                </a:cubicBezTo>
                <a:cubicBezTo>
                  <a:pt x="78" y="0"/>
                  <a:pt x="67" y="48"/>
                  <a:pt x="39" y="78"/>
                </a:cubicBezTo>
                <a:cubicBezTo>
                  <a:pt x="37" y="96"/>
                  <a:pt x="20" y="111"/>
                  <a:pt x="0" y="114"/>
                </a:cubicBezTo>
                <a:cubicBezTo>
                  <a:pt x="5" y="119"/>
                  <a:pt x="16" y="122"/>
                  <a:pt x="29" y="122"/>
                </a:cubicBezTo>
                <a:cubicBezTo>
                  <a:pt x="54" y="122"/>
                  <a:pt x="84" y="115"/>
                  <a:pt x="99" y="99"/>
                </a:cubicBezTo>
                <a:cubicBezTo>
                  <a:pt x="78" y="100"/>
                  <a:pt x="65" y="86"/>
                  <a:pt x="64" y="68"/>
                </a:cubicBezTo>
                <a:cubicBezTo>
                  <a:pt x="74" y="80"/>
                  <a:pt x="85" y="85"/>
                  <a:pt x="99" y="85"/>
                </a:cubicBezTo>
              </a:path>
            </a:pathLst>
          </a:custGeom>
          <a:solidFill>
            <a:srgbClr val="00B9E7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pt-PT" b="1"/>
          </a:p>
        </p:txBody>
      </p:sp>
      <p:sp>
        <p:nvSpPr>
          <p:cNvPr id="24" name="Freeform 27"/>
          <p:cNvSpPr/>
          <p:nvPr userDrawn="1"/>
        </p:nvSpPr>
        <p:spPr bwMode="auto">
          <a:xfrm>
            <a:off x="5471869" y="4458435"/>
            <a:ext cx="630877" cy="536142"/>
          </a:xfrm>
          <a:custGeom>
            <a:avLst/>
            <a:gdLst>
              <a:gd name="T0" fmla="*/ 227 w 227"/>
              <a:gd name="T1" fmla="*/ 120 h 193"/>
              <a:gd name="T2" fmla="*/ 188 w 227"/>
              <a:gd name="T3" fmla="*/ 40 h 193"/>
              <a:gd name="T4" fmla="*/ 127 w 227"/>
              <a:gd name="T5" fmla="*/ 3 h 193"/>
              <a:gd name="T6" fmla="*/ 122 w 227"/>
              <a:gd name="T7" fmla="*/ 0 h 193"/>
              <a:gd name="T8" fmla="*/ 122 w 227"/>
              <a:gd name="T9" fmla="*/ 0 h 193"/>
              <a:gd name="T10" fmla="*/ 0 w 227"/>
              <a:gd name="T11" fmla="*/ 125 h 193"/>
              <a:gd name="T12" fmla="*/ 42 w 227"/>
              <a:gd name="T13" fmla="*/ 187 h 193"/>
              <a:gd name="T14" fmla="*/ 85 w 227"/>
              <a:gd name="T15" fmla="*/ 188 h 193"/>
              <a:gd name="T16" fmla="*/ 117 w 227"/>
              <a:gd name="T17" fmla="*/ 166 h 193"/>
              <a:gd name="T18" fmla="*/ 190 w 227"/>
              <a:gd name="T19" fmla="*/ 88 h 193"/>
              <a:gd name="T20" fmla="*/ 227 w 227"/>
              <a:gd name="T21" fmla="*/ 122 h 193"/>
              <a:gd name="T22" fmla="*/ 227 w 227"/>
              <a:gd name="T23" fmla="*/ 12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7" h="193">
                <a:moveTo>
                  <a:pt x="227" y="120"/>
                </a:moveTo>
                <a:cubicBezTo>
                  <a:pt x="226" y="89"/>
                  <a:pt x="211" y="62"/>
                  <a:pt x="188" y="40"/>
                </a:cubicBezTo>
                <a:cubicBezTo>
                  <a:pt x="170" y="24"/>
                  <a:pt x="149" y="12"/>
                  <a:pt x="127" y="3"/>
                </a:cubicBezTo>
                <a:cubicBezTo>
                  <a:pt x="125" y="2"/>
                  <a:pt x="123" y="1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94" y="33"/>
                  <a:pt x="0" y="57"/>
                  <a:pt x="0" y="125"/>
                </a:cubicBezTo>
                <a:cubicBezTo>
                  <a:pt x="0" y="152"/>
                  <a:pt x="17" y="177"/>
                  <a:pt x="42" y="187"/>
                </a:cubicBezTo>
                <a:cubicBezTo>
                  <a:pt x="56" y="193"/>
                  <a:pt x="71" y="193"/>
                  <a:pt x="85" y="188"/>
                </a:cubicBezTo>
                <a:cubicBezTo>
                  <a:pt x="98" y="184"/>
                  <a:pt x="108" y="176"/>
                  <a:pt x="117" y="166"/>
                </a:cubicBezTo>
                <a:cubicBezTo>
                  <a:pt x="145" y="136"/>
                  <a:pt x="156" y="88"/>
                  <a:pt x="190" y="88"/>
                </a:cubicBezTo>
                <a:cubicBezTo>
                  <a:pt x="221" y="88"/>
                  <a:pt x="225" y="110"/>
                  <a:pt x="227" y="122"/>
                </a:cubicBezTo>
                <a:cubicBezTo>
                  <a:pt x="227" y="122"/>
                  <a:pt x="227" y="121"/>
                  <a:pt x="227" y="120"/>
                </a:cubicBezTo>
              </a:path>
            </a:pathLst>
          </a:custGeom>
          <a:solidFill>
            <a:srgbClr val="007DB6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pt-PT" b="1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2692" y="4869077"/>
            <a:ext cx="3344087" cy="108882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13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4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1"/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/>
          <p:cNvPicPr>
            <a:picLocks noChangeAspect="1"/>
          </p:cNvPicPr>
          <p:nvPr userDrawn="1"/>
        </p:nvPicPr>
        <p:blipFill rotWithShape="1">
          <a:blip r:embed="rId2"/>
          <a:srcRect t="9060"/>
          <a:stretch>
            <a:fillRect/>
          </a:stretch>
        </p:blipFill>
        <p:spPr>
          <a:xfrm flipH="1">
            <a:off x="0" y="0"/>
            <a:ext cx="6728158" cy="6236668"/>
          </a:xfrm>
          <a:prstGeom prst="rect">
            <a:avLst/>
          </a:prstGeom>
        </p:spPr>
      </p:pic>
      <p:sp>
        <p:nvSpPr>
          <p:cNvPr id="19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07988" y="2439343"/>
            <a:ext cx="4940178" cy="100811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1800"/>
              </a:lnSpc>
              <a:spcAft>
                <a:spcPts val="600"/>
              </a:spcAft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7896200" y="1404921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896200" y="5918247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896200" y="5015581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96200" y="4112916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96200" y="3210251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7896200" y="2307586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1447298"/>
            <a:ext cx="5471988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2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ith signature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998106" y="2708995"/>
            <a:ext cx="3017520" cy="3528293"/>
          </a:xfrm>
          <a:prstGeom prst="rect">
            <a:avLst/>
          </a:prstGeom>
          <a:noFill/>
          <a:ln w="38100">
            <a:solidFill>
              <a:srgbClr val="E6E7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Rectangle 15"/>
          <p:cNvSpPr/>
          <p:nvPr userDrawn="1"/>
        </p:nvSpPr>
        <p:spPr>
          <a:xfrm>
            <a:off x="4601266" y="2744279"/>
            <a:ext cx="3017520" cy="3528293"/>
          </a:xfrm>
          <a:prstGeom prst="rect">
            <a:avLst/>
          </a:prstGeom>
          <a:noFill/>
          <a:ln w="38100">
            <a:solidFill>
              <a:srgbClr val="E6E7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7" name="Rectangle 16"/>
          <p:cNvSpPr/>
          <p:nvPr userDrawn="1"/>
        </p:nvSpPr>
        <p:spPr>
          <a:xfrm>
            <a:off x="8204425" y="2744279"/>
            <a:ext cx="3017520" cy="3528293"/>
          </a:xfrm>
          <a:prstGeom prst="rect">
            <a:avLst/>
          </a:prstGeom>
          <a:noFill/>
          <a:ln w="38100">
            <a:solidFill>
              <a:srgbClr val="E6E7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Oval 20"/>
          <p:cNvSpPr/>
          <p:nvPr userDrawn="1"/>
        </p:nvSpPr>
        <p:spPr>
          <a:xfrm>
            <a:off x="8674834" y="1772816"/>
            <a:ext cx="2076703" cy="1962143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Oval 20"/>
          <p:cNvSpPr/>
          <p:nvPr userDrawn="1"/>
        </p:nvSpPr>
        <p:spPr>
          <a:xfrm>
            <a:off x="5071675" y="1772816"/>
            <a:ext cx="2076703" cy="1962143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4" name="Oval 20"/>
          <p:cNvSpPr/>
          <p:nvPr userDrawn="1"/>
        </p:nvSpPr>
        <p:spPr>
          <a:xfrm>
            <a:off x="1468515" y="1772816"/>
            <a:ext cx="2076703" cy="1962143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2800" b="1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1678985" y="2492375"/>
            <a:ext cx="1655762" cy="5762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3000"/>
              </a:lnSpc>
              <a:defRPr sz="2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xx</a:t>
            </a:r>
            <a:r>
              <a:rPr lang="pt-PT" dirty="0"/>
              <a:t>%</a:t>
            </a:r>
            <a:endParaRPr lang="pt-PT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1" hasCustomPrompt="1"/>
          </p:nvPr>
        </p:nvSpPr>
        <p:spPr>
          <a:xfrm>
            <a:off x="5282145" y="2492896"/>
            <a:ext cx="1655762" cy="5762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3000"/>
              </a:lnSpc>
              <a:defRPr sz="2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xx</a:t>
            </a:r>
            <a:r>
              <a:rPr lang="pt-PT" dirty="0"/>
              <a:t>%</a:t>
            </a:r>
            <a:endParaRPr lang="pt-PT" dirty="0"/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2" hasCustomPrompt="1"/>
          </p:nvPr>
        </p:nvSpPr>
        <p:spPr>
          <a:xfrm>
            <a:off x="8885304" y="2465855"/>
            <a:ext cx="1655762" cy="5762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3000"/>
              </a:lnSpc>
              <a:defRPr sz="2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PT" dirty="0" err="1"/>
              <a:t>xx</a:t>
            </a:r>
            <a:r>
              <a:rPr lang="pt-PT" dirty="0"/>
              <a:t>%</a:t>
            </a:r>
            <a:endParaRPr lang="pt-PT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1138441" y="4005263"/>
            <a:ext cx="2736850" cy="6477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741601" y="4005064"/>
            <a:ext cx="2736850" cy="6477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5" hasCustomPrompt="1"/>
          </p:nvPr>
        </p:nvSpPr>
        <p:spPr>
          <a:xfrm>
            <a:off x="8344760" y="4005064"/>
            <a:ext cx="2736850" cy="6477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16" hasCustomPrompt="1"/>
          </p:nvPr>
        </p:nvSpPr>
        <p:spPr>
          <a:xfrm>
            <a:off x="8344760" y="4941888"/>
            <a:ext cx="2736850" cy="935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17" hasCustomPrompt="1"/>
          </p:nvPr>
        </p:nvSpPr>
        <p:spPr>
          <a:xfrm>
            <a:off x="4741601" y="4919315"/>
            <a:ext cx="2736850" cy="935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9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1138441" y="4919315"/>
            <a:ext cx="2736850" cy="935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9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2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204864"/>
            <a:ext cx="3618859" cy="292462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ts val="6200"/>
              </a:lnSpc>
              <a:defRPr sz="5400">
                <a:solidFill>
                  <a:srgbClr val="2C004B"/>
                </a:solidFill>
              </a:defRPr>
            </a:lvl1pPr>
            <a:lvl2pPr marL="457200" indent="0">
              <a:lnSpc>
                <a:spcPts val="6200"/>
              </a:lnSpc>
              <a:buNone/>
              <a:defRPr sz="54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273460"/>
            <a:ext cx="3618859" cy="6758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2C004B"/>
                </a:solidFill>
              </a:defRPr>
            </a:lvl1pPr>
            <a:lvl2pPr marL="457200" indent="0">
              <a:buNone/>
              <a:defRPr sz="18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61852" y="0"/>
            <a:ext cx="8730148" cy="6858000"/>
            <a:chOff x="3461852" y="0"/>
            <a:chExt cx="8730148" cy="6858000"/>
          </a:xfrm>
        </p:grpSpPr>
        <p:sp>
          <p:nvSpPr>
            <p:cNvPr id="12" name="Freeform: Shape 11"/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3" name="Freeform 10"/>
            <p:cNvSpPr/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  <p:sp>
          <p:nvSpPr>
            <p:cNvPr id="14" name="Freeform 11"/>
            <p:cNvSpPr/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PT"/>
            </a:p>
          </p:txBody>
        </p:sp>
      </p:grpSp>
      <p:sp>
        <p:nvSpPr>
          <p:cNvPr id="8" name="Retângulo 43"/>
          <p:cNvSpPr/>
          <p:nvPr userDrawn="1"/>
        </p:nvSpPr>
        <p:spPr>
          <a:xfrm>
            <a:off x="949665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5" name="Retângulo 43"/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4437112"/>
            <a:ext cx="12192000" cy="2420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1700808"/>
            <a:ext cx="5832475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2200"/>
              </a:lnSpc>
              <a:spcAft>
                <a:spcPts val="0"/>
              </a:spcAft>
              <a:defRPr sz="180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/>
          <a:srcRect r="13305" b="8553"/>
          <a:stretch>
            <a:fillRect/>
          </a:stretch>
        </p:blipFill>
        <p:spPr>
          <a:xfrm rot="19314106">
            <a:off x="10091405" y="-166653"/>
            <a:ext cx="3522628" cy="5177025"/>
          </a:xfrm>
          <a:custGeom>
            <a:avLst/>
            <a:gdLst>
              <a:gd name="connsiteX0" fmla="*/ 3522628 w 3522628"/>
              <a:gd name="connsiteY0" fmla="*/ 891962 h 5177025"/>
              <a:gd name="connsiteX1" fmla="*/ 162923 w 3522628"/>
              <a:gd name="connsiteY1" fmla="*/ 5177025 h 5177025"/>
              <a:gd name="connsiteX2" fmla="*/ 0 w 3522628"/>
              <a:gd name="connsiteY2" fmla="*/ 5049285 h 5177025"/>
              <a:gd name="connsiteX3" fmla="*/ 0 w 3522628"/>
              <a:gd name="connsiteY3" fmla="*/ 1923687 h 5177025"/>
              <a:gd name="connsiteX4" fmla="*/ 1508267 w 3522628"/>
              <a:gd name="connsiteY4" fmla="*/ 0 h 5177025"/>
              <a:gd name="connsiteX5" fmla="*/ 2384994 w 3522628"/>
              <a:gd name="connsiteY5" fmla="*/ 0 h 51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2628" h="5177025">
                <a:moveTo>
                  <a:pt x="3522628" y="891962"/>
                </a:moveTo>
                <a:lnTo>
                  <a:pt x="162923" y="5177025"/>
                </a:lnTo>
                <a:lnTo>
                  <a:pt x="0" y="5049285"/>
                </a:lnTo>
                <a:lnTo>
                  <a:pt x="0" y="1923687"/>
                </a:lnTo>
                <a:lnTo>
                  <a:pt x="1508267" y="0"/>
                </a:lnTo>
                <a:lnTo>
                  <a:pt x="2384994" y="0"/>
                </a:lnTo>
                <a:close/>
              </a:path>
            </a:pathLst>
          </a:custGeom>
        </p:spPr>
      </p:pic>
      <p:sp>
        <p:nvSpPr>
          <p:cNvPr id="40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618009" y="558503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Aft>
                <a:spcPts val="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1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2511156" y="558503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Aft>
                <a:spcPts val="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2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4404303" y="558503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Aft>
                <a:spcPts val="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297450" y="558503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Aft>
                <a:spcPts val="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190597" y="558503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Aft>
                <a:spcPts val="0"/>
              </a:spcAft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40"/>
          </p:nvPr>
        </p:nvSpPr>
        <p:spPr>
          <a:xfrm>
            <a:off x="10083744" y="558503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lnSpc>
                <a:spcPts val="1600"/>
              </a:lnSpc>
              <a:defRPr sz="14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6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7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426488" y="2326856"/>
            <a:ext cx="3149232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3860688" y="2326856"/>
            <a:ext cx="3149232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7294887" y="2326856"/>
            <a:ext cx="3149232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355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980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905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zation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66750" y="5733255"/>
            <a:ext cx="1939924" cy="504056"/>
          </a:xfrm>
          <a:prstGeom prst="rect">
            <a:avLst/>
          </a:prstGeom>
          <a:solidFill>
            <a:srgbClr val="E6E7E7"/>
          </a:solidFill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200" b="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2794164" y="5737641"/>
            <a:ext cx="1939924" cy="504056"/>
          </a:xfrm>
          <a:prstGeom prst="rect">
            <a:avLst/>
          </a:prstGeom>
          <a:solidFill>
            <a:srgbClr val="E6E7E7"/>
          </a:solidFill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200" b="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4927473" y="5737641"/>
            <a:ext cx="1939924" cy="504056"/>
          </a:xfrm>
          <a:prstGeom prst="rect">
            <a:avLst/>
          </a:prstGeom>
          <a:solidFill>
            <a:srgbClr val="E6E7E7"/>
          </a:solidFill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200" b="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7060200" y="5733156"/>
            <a:ext cx="1939924" cy="504056"/>
          </a:xfrm>
          <a:prstGeom prst="rect">
            <a:avLst/>
          </a:prstGeom>
          <a:solidFill>
            <a:srgbClr val="E6E7E7"/>
          </a:solidFill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200" b="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9192926" y="5733156"/>
            <a:ext cx="1939924" cy="504056"/>
          </a:xfrm>
          <a:prstGeom prst="rect">
            <a:avLst/>
          </a:prstGeom>
          <a:solidFill>
            <a:srgbClr val="E6E7E7"/>
          </a:solidFill>
        </p:spPr>
        <p:txBody>
          <a:bodyPr anchor="ctr">
            <a:noAutofit/>
          </a:bodyPr>
          <a:lstStyle>
            <a:lvl1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200" b="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3647728" y="1958081"/>
            <a:ext cx="1440160" cy="1152128"/>
          </a:xfrm>
          <a:prstGeom prst="rect">
            <a:avLst/>
          </a:prstGeom>
          <a:solidFill>
            <a:srgbClr val="0070AD"/>
          </a:solidFill>
        </p:spPr>
        <p:txBody>
          <a:bodyPr rIns="0" anchor="ctr">
            <a:noAutofit/>
          </a:bodyPr>
          <a:lstStyle>
            <a:lvl1pPr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Insert Group Name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6384032" y="3428999"/>
            <a:ext cx="1440160" cy="1152128"/>
          </a:xfrm>
          <a:prstGeom prst="rect">
            <a:avLst/>
          </a:prstGeom>
          <a:solidFill>
            <a:srgbClr val="12ABDB"/>
          </a:solidFill>
        </p:spPr>
        <p:txBody>
          <a:bodyPr rIns="0" anchor="ctr">
            <a:noAutofit/>
          </a:bodyPr>
          <a:lstStyle>
            <a:lvl1pPr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Insert Group Nam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589947" y="1916832"/>
            <a:ext cx="5012107" cy="123010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kern="0">
              <a:solidFill>
                <a:srgbClr val="FFFFFF"/>
              </a:solidFill>
              <a:sym typeface="Arial" panose="020B0604020202020204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337816" y="3389316"/>
            <a:ext cx="5012107" cy="123010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kern="0">
              <a:solidFill>
                <a:srgbClr val="FFFFFF"/>
              </a:solidFill>
              <a:sym typeface="Arial" panose="020B0604020202020204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39788" y="3389316"/>
            <a:ext cx="5012107" cy="123010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kern="0">
              <a:solidFill>
                <a:srgbClr val="FFFFFF"/>
              </a:solidFill>
              <a:sym typeface="Arial" panose="020B0604020202020204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83343" y="3711981"/>
            <a:ext cx="123975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85000"/>
              </a:lnSpc>
            </a:pPr>
            <a:r>
              <a:rPr lang="en-US" sz="1600" b="1" kern="0" dirty="0">
                <a:solidFill>
                  <a:schemeClr val="bg1"/>
                </a:solidFill>
                <a:latin typeface="+mj-lt"/>
                <a:ea typeface="Georgia" panose="02040502050405020303" charset="0"/>
                <a:cs typeface="Georgia" panose="02040502050405020303" charset="0"/>
                <a:sym typeface="Arial" panose="020B0604020202020204"/>
              </a:rPr>
              <a:t>Group Name</a:t>
            </a:r>
            <a:endParaRPr lang="en-US" sz="1600" b="1" kern="0" dirty="0">
              <a:solidFill>
                <a:schemeClr val="bg1"/>
              </a:solidFill>
              <a:latin typeface="+mj-lt"/>
              <a:ea typeface="Georgia" panose="02040502050405020303" charset="0"/>
              <a:cs typeface="Georgia" panose="02040502050405020303" charset="0"/>
              <a:sym typeface="Arial" panose="020B0604020202020204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367808" y="3160017"/>
            <a:ext cx="0" cy="21602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7104112" y="3160017"/>
            <a:ext cx="0" cy="21602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5879976" y="4004369"/>
            <a:ext cx="43204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2711624" y="4653135"/>
            <a:ext cx="0" cy="504056"/>
          </a:xfrm>
          <a:prstGeom prst="line">
            <a:avLst/>
          </a:prstGeom>
          <a:ln w="38100">
            <a:solidFill>
              <a:srgbClr val="12AB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1612454" y="5226817"/>
            <a:ext cx="8588002" cy="0"/>
          </a:xfrm>
          <a:prstGeom prst="line">
            <a:avLst/>
          </a:prstGeom>
          <a:ln w="38100">
            <a:solidFill>
              <a:srgbClr val="12AB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1631690" y="5229100"/>
            <a:ext cx="0" cy="432147"/>
          </a:xfrm>
          <a:prstGeom prst="line">
            <a:avLst/>
          </a:prstGeom>
          <a:ln w="38100">
            <a:solidFill>
              <a:srgbClr val="12AB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3764417" y="5229199"/>
            <a:ext cx="0" cy="432147"/>
          </a:xfrm>
          <a:prstGeom prst="line">
            <a:avLst/>
          </a:prstGeom>
          <a:ln w="38100">
            <a:solidFill>
              <a:srgbClr val="12AB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5897144" y="5229199"/>
            <a:ext cx="0" cy="432147"/>
          </a:xfrm>
          <a:prstGeom prst="line">
            <a:avLst/>
          </a:prstGeom>
          <a:ln w="38100">
            <a:solidFill>
              <a:srgbClr val="12AB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8029871" y="5229199"/>
            <a:ext cx="0" cy="432147"/>
          </a:xfrm>
          <a:prstGeom prst="line">
            <a:avLst/>
          </a:prstGeom>
          <a:ln w="38100">
            <a:solidFill>
              <a:srgbClr val="12AB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10179266" y="5219674"/>
            <a:ext cx="0" cy="432147"/>
          </a:xfrm>
          <a:prstGeom prst="line">
            <a:avLst/>
          </a:prstGeom>
          <a:ln w="38100">
            <a:solidFill>
              <a:srgbClr val="12AB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5157506" y="2091773"/>
            <a:ext cx="3314758" cy="880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1842" y="3564257"/>
            <a:ext cx="3314758" cy="880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896622" y="3564257"/>
            <a:ext cx="3314758" cy="880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81063" y="3428106"/>
            <a:ext cx="1440160" cy="1152128"/>
          </a:xfrm>
          <a:prstGeom prst="rect">
            <a:avLst/>
          </a:prstGeom>
          <a:solidFill>
            <a:srgbClr val="12ABDB"/>
          </a:solidFill>
        </p:spPr>
        <p:txBody>
          <a:bodyPr rIns="0" anchor="ctr">
            <a:noAutofit/>
          </a:bodyPr>
          <a:lstStyle>
            <a:lvl1pPr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Insert Group Name</a:t>
            </a:r>
            <a:endParaRPr lang="en-US" dirty="0"/>
          </a:p>
        </p:txBody>
      </p:sp>
      <p:sp>
        <p:nvSpPr>
          <p:cNvPr id="4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47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48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3" hidden="1"/>
          <p:cNvGraphicFramePr/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" r:id="rId3" imgW="0" imgH="0" progId="TCLayout.ActiveDocument">
                  <p:embed/>
                </p:oleObj>
              </mc:Choice>
              <mc:Fallback>
                <p:oleObj name="" r:id="rId3" imgW="0" imgH="0" progId="TCLayout.ActiveDocument">
                  <p:embed/>
                  <p:pic>
                    <p:nvPicPr>
                      <p:cNvPr id="0" name="Rectangle 13" hidden="1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6" descr="Capgemini_chinese_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17" y="6345238"/>
            <a:ext cx="1913467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>
            <a:spLocks noChangeArrowheads="1"/>
          </p:cNvSpPr>
          <p:nvPr/>
        </p:nvSpPr>
        <p:spPr bwMode="auto">
          <a:xfrm>
            <a:off x="5327651" y="6345238"/>
            <a:ext cx="183575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ctr">
              <a:lnSpc>
                <a:spcPct val="90000"/>
              </a:lnSpc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algn="ctr">
              <a:lnSpc>
                <a:spcPct val="90000"/>
              </a:lnSpc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algn="ctr">
              <a:lnSpc>
                <a:spcPct val="90000"/>
              </a:lnSpc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algn="ctr">
              <a:lnSpc>
                <a:spcPct val="90000"/>
              </a:lnSpc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algn="ctr">
              <a:lnSpc>
                <a:spcPct val="90000"/>
              </a:lnSpc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 eaLnBrk="1" hangingPunct="1">
              <a:defRPr/>
            </a:pPr>
            <a:r>
              <a:rPr lang="en-US" altLang="zh-CN" sz="1000">
                <a:solidFill>
                  <a:srgbClr val="009BCC"/>
                </a:solidFill>
              </a:rPr>
              <a:t>Together. Free your energies</a:t>
            </a:r>
            <a:endParaRPr lang="en-US" altLang="zh-CN" sz="1000">
              <a:solidFill>
                <a:srgbClr val="009BCC"/>
              </a:solidFill>
            </a:endParaRPr>
          </a:p>
        </p:txBody>
      </p:sp>
      <p:sp>
        <p:nvSpPr>
          <p:cNvPr id="6" name="Line 16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1" y="906463"/>
            <a:ext cx="12196233" cy="0"/>
          </a:xfrm>
          <a:prstGeom prst="line">
            <a:avLst/>
          </a:prstGeom>
          <a:noFill/>
          <a:ln w="6350">
            <a:solidFill>
              <a:srgbClr val="DFDBCB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7" name="Line 17"/>
          <p:cNvSpPr>
            <a:spLocks noChangeShapeType="1"/>
          </p:cNvSpPr>
          <p:nvPr/>
        </p:nvSpPr>
        <p:spPr bwMode="auto">
          <a:xfrm>
            <a:off x="239185" y="908050"/>
            <a:ext cx="2070100" cy="0"/>
          </a:xfrm>
          <a:prstGeom prst="line">
            <a:avLst/>
          </a:prstGeom>
          <a:noFill/>
          <a:ln w="28575">
            <a:solidFill>
              <a:srgbClr val="DFDBCB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8" name="Text Box 19"/>
          <p:cNvSpPr txBox="1">
            <a:spLocks noChangeArrowheads="1"/>
          </p:cNvSpPr>
          <p:nvPr userDrawn="1"/>
        </p:nvSpPr>
        <p:spPr bwMode="auto">
          <a:xfrm>
            <a:off x="2369987" y="6446838"/>
            <a:ext cx="1311578" cy="223138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lnSpc>
                <a:spcPct val="85000"/>
              </a:lnSpc>
              <a:defRPr/>
            </a:pPr>
            <a:r>
              <a:rPr lang="en-US" altLang="zh-CN" sz="1000">
                <a:solidFill>
                  <a:srgbClr val="000000"/>
                </a:solidFill>
              </a:rPr>
              <a:t>In collaboration with</a:t>
            </a:r>
            <a:endParaRPr lang="en-US" altLang="zh-CN" sz="1000">
              <a:solidFill>
                <a:srgbClr val="000000"/>
              </a:solidFill>
            </a:endParaRPr>
          </a:p>
        </p:txBody>
      </p:sp>
      <p:pic>
        <p:nvPicPr>
          <p:cNvPr id="9" name="Picture 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6634" y="6367464"/>
            <a:ext cx="1056217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59509" y="215902"/>
            <a:ext cx="11832492" cy="100213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40000"/>
            <a:ext cx="12192000" cy="1522853"/>
          </a:xfrm>
        </p:spPr>
        <p:txBody>
          <a:bodyPr/>
          <a:lstStyle>
            <a:lvl1pPr marL="252095" indent="-252095">
              <a:defRPr baseline="0">
                <a:solidFill>
                  <a:schemeClr val="tx1"/>
                </a:solidFill>
              </a:defRPr>
            </a:lvl1pPr>
            <a:lvl2pPr marL="490855" indent="-162560">
              <a:defRPr lang="en-US" sz="1845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163830"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66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1245" indent="-240030">
              <a:buClr>
                <a:schemeClr val="accent3"/>
              </a:buClr>
              <a:defRPr lang="en-US" sz="1475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3340" indent="-163830">
              <a:defRPr lang="en-US" sz="129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buNone/>
              <a:defRPr/>
            </a:lvl6pPr>
          </a:lstStyle>
          <a:p>
            <a:pPr lvl="0"/>
            <a:r>
              <a:rPr lang="en-US" altLang="zh-CN" noProof="0" dirty="0"/>
              <a:t>Click to edit Master text styles</a:t>
            </a:r>
            <a:endParaRPr lang="en-US" altLang="zh-CN" noProof="0" dirty="0"/>
          </a:p>
          <a:p>
            <a:pPr lvl="1"/>
            <a:r>
              <a:rPr lang="en-US" altLang="zh-CN" noProof="0" dirty="0"/>
              <a:t>Second level</a:t>
            </a:r>
            <a:endParaRPr lang="en-US" altLang="zh-CN" noProof="0" dirty="0"/>
          </a:p>
          <a:p>
            <a:pPr lvl="2"/>
            <a:r>
              <a:rPr lang="en-US" altLang="zh-CN" noProof="0" dirty="0"/>
              <a:t>Third level</a:t>
            </a:r>
            <a:endParaRPr lang="en-US" altLang="zh-CN" noProof="0" dirty="0"/>
          </a:p>
          <a:p>
            <a:pPr lvl="3"/>
            <a:r>
              <a:rPr lang="en-US" altLang="zh-CN" noProof="0" dirty="0"/>
              <a:t>Fourth level</a:t>
            </a:r>
            <a:endParaRPr lang="en-US" altLang="zh-CN" noProof="0" dirty="0"/>
          </a:p>
          <a:p>
            <a:pPr lvl="4"/>
            <a:r>
              <a:rPr lang="en-US" altLang="zh-CN" noProof="0" dirty="0"/>
              <a:t>Fifth level</a:t>
            </a:r>
            <a:endParaRPr lang="en-US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609601" y="0"/>
            <a:ext cx="11239500" cy="118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52000" tIns="252000" rIns="144000" bIns="36000" anchor="ctr"/>
          <a:lstStyle/>
          <a:p>
            <a:pPr lvl="0"/>
            <a:r>
              <a:rPr lang="fr-FR" altLang="zh-CN" dirty="0"/>
              <a:t>Cliquez pour modifier le style du titre</a:t>
            </a:r>
            <a:endParaRPr lang="en-US" altLang="zh-CN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11715751" y="6648450"/>
            <a:ext cx="254000" cy="96838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defRPr sz="74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63525" eaLnBrk="0" hangingPunct="0">
              <a:defRPr sz="129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370" indent="-210820" eaLnBrk="0" hangingPunct="0">
              <a:defRPr sz="129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010" indent="-210820" eaLnBrk="0" hangingPunct="0">
              <a:defRPr sz="129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285" indent="-210820" eaLnBrk="0" hangingPunct="0">
              <a:defRPr sz="129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0925" indent="-210820" eaLnBrk="0" fontAlgn="base" hangingPunct="0">
              <a:spcBef>
                <a:spcPct val="0"/>
              </a:spcBef>
              <a:spcAft>
                <a:spcPct val="0"/>
              </a:spcAft>
              <a:defRPr sz="129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00" indent="-210820" eaLnBrk="0" fontAlgn="base" hangingPunct="0">
              <a:spcBef>
                <a:spcPct val="0"/>
              </a:spcBef>
              <a:spcAft>
                <a:spcPct val="0"/>
              </a:spcAft>
              <a:defRPr sz="129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475" indent="-210820" eaLnBrk="0" fontAlgn="base" hangingPunct="0">
              <a:spcBef>
                <a:spcPct val="0"/>
              </a:spcBef>
              <a:spcAft>
                <a:spcPct val="0"/>
              </a:spcAft>
              <a:defRPr sz="129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115" indent="-210820" eaLnBrk="0" fontAlgn="base" hangingPunct="0">
              <a:spcBef>
                <a:spcPct val="0"/>
              </a:spcBef>
              <a:spcAft>
                <a:spcPct val="0"/>
              </a:spcAft>
              <a:defRPr sz="129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2240EAA8-97E6-4B48-AC86-D7E570C3F033}" type="slidenum">
              <a:rPr lang="en-US" altLang="zh-CN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0" y="0"/>
            <a:ext cx="12185400" cy="68580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79283" y="2534465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283" y="4651794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  <a:endParaRPr lang="en-US" dirty="0"/>
          </a:p>
        </p:txBody>
      </p:sp>
      <p:pic>
        <p:nvPicPr>
          <p:cNvPr id="24" name="图片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00" y="5517000"/>
            <a:ext cx="2736000" cy="55372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6"/>
          <p:cNvGrpSpPr>
            <a:grpSpLocks noChangeAspect="1"/>
          </p:cNvGrpSpPr>
          <p:nvPr userDrawn="1"/>
        </p:nvGrpSpPr>
        <p:grpSpPr>
          <a:xfrm rot="1560000">
            <a:off x="7596505" y="4491990"/>
            <a:ext cx="4612005" cy="3582670"/>
            <a:chOff x="3679800" y="1595243"/>
            <a:chExt cx="4793441" cy="3722703"/>
          </a:xfrm>
        </p:grpSpPr>
        <p:sp>
          <p:nvSpPr>
            <p:cNvPr id="5" name="Forme libre : forme 4"/>
            <p:cNvSpPr/>
            <p:nvPr/>
          </p:nvSpPr>
          <p:spPr>
            <a:xfrm>
              <a:off x="3679800" y="1595243"/>
              <a:ext cx="4594838" cy="3722703"/>
            </a:xfrm>
            <a:custGeom>
              <a:avLst/>
              <a:gdLst>
                <a:gd name="connsiteX0" fmla="*/ 8268 w 8268"/>
                <a:gd name="connsiteY0" fmla="*/ 2688 h 6699"/>
                <a:gd name="connsiteX1" fmla="*/ 7440 w 8268"/>
                <a:gd name="connsiteY1" fmla="*/ 672 h 6699"/>
                <a:gd name="connsiteX2" fmla="*/ 4856 w 8268"/>
                <a:gd name="connsiteY2" fmla="*/ 234 h 6699"/>
                <a:gd name="connsiteX3" fmla="*/ 40 w 8268"/>
                <a:gd name="connsiteY3" fmla="*/ 6220 h 6699"/>
                <a:gd name="connsiteX4" fmla="*/ 11 w 8268"/>
                <a:gd name="connsiteY4" fmla="*/ 6699 h 6699"/>
                <a:gd name="connsiteX5" fmla="*/ 8268 w 8268"/>
                <a:gd name="connsiteY5" fmla="*/ 2688 h 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68" h="6699">
                  <a:moveTo>
                    <a:pt x="8268" y="2688"/>
                  </a:moveTo>
                  <a:cubicBezTo>
                    <a:pt x="8268" y="2688"/>
                    <a:pt x="7742" y="897"/>
                    <a:pt x="7440" y="672"/>
                  </a:cubicBezTo>
                  <a:cubicBezTo>
                    <a:pt x="6764" y="-17"/>
                    <a:pt x="5718" y="-200"/>
                    <a:pt x="4856" y="234"/>
                  </a:cubicBezTo>
                  <a:cubicBezTo>
                    <a:pt x="4876" y="3909"/>
                    <a:pt x="40" y="6220"/>
                    <a:pt x="40" y="6220"/>
                  </a:cubicBezTo>
                  <a:cubicBezTo>
                    <a:pt x="40" y="6220"/>
                    <a:pt x="-26" y="6443"/>
                    <a:pt x="11" y="6699"/>
                  </a:cubicBezTo>
                  <a:lnTo>
                    <a:pt x="8268" y="2688"/>
                  </a:lnTo>
                  <a:close/>
                </a:path>
              </a:pathLst>
            </a:custGeom>
            <a:solidFill>
              <a:srgbClr val="96E61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orme libre : forme 5"/>
            <p:cNvSpPr/>
            <p:nvPr/>
          </p:nvSpPr>
          <p:spPr>
            <a:xfrm rot="21360000">
              <a:off x="7078982" y="1837690"/>
              <a:ext cx="1394259" cy="1762805"/>
            </a:xfrm>
            <a:custGeom>
              <a:avLst/>
              <a:gdLst>
                <a:gd name="connsiteX0" fmla="*/ 1267 w 2388"/>
                <a:gd name="connsiteY0" fmla="*/ 1960 h 3019"/>
                <a:gd name="connsiteX1" fmla="*/ 0 w 2388"/>
                <a:gd name="connsiteY1" fmla="*/ 3020 h 3019"/>
                <a:gd name="connsiteX2" fmla="*/ 2388 w 2388"/>
                <a:gd name="connsiteY2" fmla="*/ 2033 h 3019"/>
                <a:gd name="connsiteX3" fmla="*/ 1206 w 2388"/>
                <a:gd name="connsiteY3" fmla="*/ 63 h 3019"/>
                <a:gd name="connsiteX4" fmla="*/ 1267 w 2388"/>
                <a:gd name="connsiteY4" fmla="*/ 1960 h 3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8" h="3020">
                  <a:moveTo>
                    <a:pt x="1267" y="1960"/>
                  </a:moveTo>
                  <a:cubicBezTo>
                    <a:pt x="711" y="2677"/>
                    <a:pt x="0" y="3020"/>
                    <a:pt x="0" y="3020"/>
                  </a:cubicBezTo>
                  <a:lnTo>
                    <a:pt x="2388" y="2033"/>
                  </a:lnTo>
                  <a:cubicBezTo>
                    <a:pt x="2180" y="1476"/>
                    <a:pt x="1695" y="364"/>
                    <a:pt x="1206" y="63"/>
                  </a:cubicBezTo>
                  <a:cubicBezTo>
                    <a:pt x="767" y="-263"/>
                    <a:pt x="2201" y="729"/>
                    <a:pt x="1267" y="1960"/>
                  </a:cubicBezTo>
                </a:path>
              </a:pathLst>
            </a:custGeom>
            <a:solidFill>
              <a:srgbClr val="1D7A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altLang="zh-CN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11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43"/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schemeClr val="bg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Text Placeholder 7"/>
          <p:cNvSpPr txBox="1"/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© Capgemini 2019. All rights reserved </a:t>
            </a:r>
            <a:r>
              <a:rPr lang="en-US" dirty="0">
                <a:solidFill>
                  <a:schemeClr val="accent2"/>
                </a:solidFill>
              </a:rPr>
              <a:t> |</a:t>
            </a:r>
            <a:endParaRPr lang="en-US" dirty="0">
              <a:solidFill>
                <a:schemeClr val="accent2"/>
              </a:solidFill>
            </a:endParaRPr>
          </a:p>
        </p:txBody>
      </p:sp>
      <p:grpSp>
        <p:nvGrpSpPr>
          <p:cNvPr id="2" name="Groupe 6"/>
          <p:cNvGrpSpPr>
            <a:grpSpLocks noChangeAspect="1"/>
          </p:cNvGrpSpPr>
          <p:nvPr userDrawn="1"/>
        </p:nvGrpSpPr>
        <p:grpSpPr>
          <a:xfrm rot="1560000">
            <a:off x="7103110" y="4159885"/>
            <a:ext cx="5238115" cy="4049395"/>
            <a:chOff x="3679800" y="1595243"/>
            <a:chExt cx="4816267" cy="3722703"/>
          </a:xfrm>
        </p:grpSpPr>
        <p:sp>
          <p:nvSpPr>
            <p:cNvPr id="5" name="Forme libre : forme 4"/>
            <p:cNvSpPr/>
            <p:nvPr/>
          </p:nvSpPr>
          <p:spPr>
            <a:xfrm>
              <a:off x="3679800" y="1595243"/>
              <a:ext cx="4594838" cy="3722703"/>
            </a:xfrm>
            <a:custGeom>
              <a:avLst/>
              <a:gdLst>
                <a:gd name="connsiteX0" fmla="*/ 8268 w 8268"/>
                <a:gd name="connsiteY0" fmla="*/ 2688 h 6699"/>
                <a:gd name="connsiteX1" fmla="*/ 7440 w 8268"/>
                <a:gd name="connsiteY1" fmla="*/ 672 h 6699"/>
                <a:gd name="connsiteX2" fmla="*/ 4856 w 8268"/>
                <a:gd name="connsiteY2" fmla="*/ 234 h 6699"/>
                <a:gd name="connsiteX3" fmla="*/ 40 w 8268"/>
                <a:gd name="connsiteY3" fmla="*/ 6220 h 6699"/>
                <a:gd name="connsiteX4" fmla="*/ 11 w 8268"/>
                <a:gd name="connsiteY4" fmla="*/ 6699 h 6699"/>
                <a:gd name="connsiteX5" fmla="*/ 8268 w 8268"/>
                <a:gd name="connsiteY5" fmla="*/ 2688 h 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68" h="6699">
                  <a:moveTo>
                    <a:pt x="8268" y="2688"/>
                  </a:moveTo>
                  <a:cubicBezTo>
                    <a:pt x="8268" y="2688"/>
                    <a:pt x="7742" y="897"/>
                    <a:pt x="7440" y="672"/>
                  </a:cubicBezTo>
                  <a:cubicBezTo>
                    <a:pt x="6764" y="-17"/>
                    <a:pt x="5718" y="-200"/>
                    <a:pt x="4856" y="234"/>
                  </a:cubicBezTo>
                  <a:cubicBezTo>
                    <a:pt x="4876" y="3909"/>
                    <a:pt x="40" y="6220"/>
                    <a:pt x="40" y="6220"/>
                  </a:cubicBezTo>
                  <a:cubicBezTo>
                    <a:pt x="40" y="6220"/>
                    <a:pt x="-26" y="6443"/>
                    <a:pt x="11" y="6699"/>
                  </a:cubicBezTo>
                  <a:lnTo>
                    <a:pt x="8268" y="2688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orme libre : forme 5"/>
            <p:cNvSpPr/>
            <p:nvPr/>
          </p:nvSpPr>
          <p:spPr>
            <a:xfrm>
              <a:off x="6139642" y="1875069"/>
              <a:ext cx="2356425" cy="2294673"/>
            </a:xfrm>
            <a:custGeom>
              <a:avLst/>
              <a:gdLst>
                <a:gd name="connsiteX0" fmla="*/ 2842 w 4110"/>
                <a:gd name="connsiteY0" fmla="*/ 1982 h 4003"/>
                <a:gd name="connsiteX1" fmla="*/ 0 w 4110"/>
                <a:gd name="connsiteY1" fmla="*/ 4004 h 4003"/>
                <a:gd name="connsiteX2" fmla="*/ 4038 w 4110"/>
                <a:gd name="connsiteY2" fmla="*/ 2051 h 4003"/>
                <a:gd name="connsiteX3" fmla="*/ 3967 w 4110"/>
                <a:gd name="connsiteY3" fmla="*/ 1885 h 4003"/>
                <a:gd name="connsiteX4" fmla="*/ 2782 w 4110"/>
                <a:gd name="connsiteY4" fmla="*/ 64 h 4003"/>
                <a:gd name="connsiteX5" fmla="*/ 2842 w 4110"/>
                <a:gd name="connsiteY5" fmla="*/ 1982 h 4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11" h="4004">
                  <a:moveTo>
                    <a:pt x="2842" y="1982"/>
                  </a:moveTo>
                  <a:cubicBezTo>
                    <a:pt x="1980" y="3153"/>
                    <a:pt x="0" y="4004"/>
                    <a:pt x="0" y="4004"/>
                  </a:cubicBezTo>
                  <a:lnTo>
                    <a:pt x="4038" y="2051"/>
                  </a:lnTo>
                  <a:cubicBezTo>
                    <a:pt x="4121" y="1709"/>
                    <a:pt x="4172" y="2451"/>
                    <a:pt x="3967" y="1885"/>
                  </a:cubicBezTo>
                  <a:cubicBezTo>
                    <a:pt x="3763" y="1320"/>
                    <a:pt x="3263" y="369"/>
                    <a:pt x="2782" y="64"/>
                  </a:cubicBezTo>
                  <a:cubicBezTo>
                    <a:pt x="2352" y="-266"/>
                    <a:pt x="3760" y="737"/>
                    <a:pt x="2842" y="1982"/>
                  </a:cubicBezTo>
                </a:path>
              </a:pathLst>
            </a:custGeom>
            <a:solidFill>
              <a:srgbClr val="1D7A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11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6"/>
          <p:cNvSpPr/>
          <p:nvPr userDrawn="1"/>
        </p:nvSpPr>
        <p:spPr bwMode="auto">
          <a:xfrm>
            <a:off x="8754745" y="4874260"/>
            <a:ext cx="3472180" cy="1969770"/>
          </a:xfrm>
          <a:custGeom>
            <a:avLst/>
            <a:gdLst/>
            <a:ahLst/>
            <a:cxnLst>
              <a:cxn ang="0">
                <a:pos x="0" y="404"/>
              </a:cxn>
              <a:cxn ang="0">
                <a:pos x="33" y="354"/>
              </a:cxn>
              <a:cxn ang="0">
                <a:pos x="81" y="284"/>
              </a:cxn>
              <a:cxn ang="0">
                <a:pos x="100" y="262"/>
              </a:cxn>
              <a:cxn ang="0">
                <a:pos x="151" y="203"/>
              </a:cxn>
              <a:cxn ang="0">
                <a:pos x="173" y="183"/>
              </a:cxn>
              <a:cxn ang="0">
                <a:pos x="206" y="151"/>
              </a:cxn>
              <a:cxn ang="0">
                <a:pos x="253" y="116"/>
              </a:cxn>
              <a:cxn ang="0">
                <a:pos x="331" y="68"/>
              </a:cxn>
              <a:cxn ang="0">
                <a:pos x="465" y="19"/>
              </a:cxn>
              <a:cxn ang="0">
                <a:pos x="664" y="5"/>
              </a:cxn>
              <a:cxn ang="0">
                <a:pos x="840" y="32"/>
              </a:cxn>
              <a:cxn ang="0">
                <a:pos x="911" y="52"/>
              </a:cxn>
              <a:cxn ang="0">
                <a:pos x="1026" y="92"/>
              </a:cxn>
              <a:cxn ang="0">
                <a:pos x="1070" y="109"/>
              </a:cxn>
              <a:cxn ang="0">
                <a:pos x="1149" y="144"/>
              </a:cxn>
              <a:cxn ang="0">
                <a:pos x="1191" y="164"/>
              </a:cxn>
              <a:cxn ang="0">
                <a:pos x="1272" y="205"/>
              </a:cxn>
              <a:cxn ang="0">
                <a:pos x="1313" y="225"/>
              </a:cxn>
              <a:cxn ang="0">
                <a:pos x="1399" y="273"/>
              </a:cxn>
              <a:cxn ang="0">
                <a:pos x="1462" y="310"/>
              </a:cxn>
              <a:cxn ang="0">
                <a:pos x="1515" y="341"/>
              </a:cxn>
              <a:cxn ang="0">
                <a:pos x="1587" y="384"/>
              </a:cxn>
              <a:cxn ang="0">
                <a:pos x="1633" y="414"/>
              </a:cxn>
              <a:cxn ang="0">
                <a:pos x="1703" y="457"/>
              </a:cxn>
              <a:cxn ang="0">
                <a:pos x="1770" y="498"/>
              </a:cxn>
              <a:cxn ang="0">
                <a:pos x="1799" y="514"/>
              </a:cxn>
              <a:cxn ang="0">
                <a:pos x="1894" y="569"/>
              </a:cxn>
              <a:cxn ang="0">
                <a:pos x="2007" y="628"/>
              </a:cxn>
              <a:cxn ang="0">
                <a:pos x="2087" y="668"/>
              </a:cxn>
              <a:cxn ang="0">
                <a:pos x="2132" y="689"/>
              </a:cxn>
              <a:cxn ang="0">
                <a:pos x="2208" y="724"/>
              </a:cxn>
              <a:cxn ang="0">
                <a:pos x="2270" y="750"/>
              </a:cxn>
              <a:cxn ang="0">
                <a:pos x="2336" y="777"/>
              </a:cxn>
              <a:cxn ang="0">
                <a:pos x="2414" y="806"/>
              </a:cxn>
              <a:cxn ang="0">
                <a:pos x="2523" y="843"/>
              </a:cxn>
              <a:cxn ang="0">
                <a:pos x="2599" y="866"/>
              </a:cxn>
              <a:cxn ang="0">
                <a:pos x="2713" y="894"/>
              </a:cxn>
              <a:cxn ang="0">
                <a:pos x="2805" y="910"/>
              </a:cxn>
              <a:cxn ang="0">
                <a:pos x="2812" y="910"/>
              </a:cxn>
              <a:cxn ang="0">
                <a:pos x="2812" y="1597"/>
              </a:cxn>
              <a:cxn ang="0">
                <a:pos x="2802" y="1597"/>
              </a:cxn>
              <a:cxn ang="0">
                <a:pos x="896" y="1597"/>
              </a:cxn>
              <a:cxn ang="0">
                <a:pos x="194" y="1597"/>
              </a:cxn>
              <a:cxn ang="0">
                <a:pos x="186" y="1596"/>
              </a:cxn>
              <a:cxn ang="0">
                <a:pos x="219" y="1567"/>
              </a:cxn>
              <a:cxn ang="0">
                <a:pos x="285" y="1465"/>
              </a:cxn>
              <a:cxn ang="0">
                <a:pos x="308" y="1363"/>
              </a:cxn>
              <a:cxn ang="0">
                <a:pos x="305" y="1206"/>
              </a:cxn>
              <a:cxn ang="0">
                <a:pos x="278" y="1067"/>
              </a:cxn>
              <a:cxn ang="0">
                <a:pos x="253" y="977"/>
              </a:cxn>
              <a:cxn ang="0">
                <a:pos x="217" y="872"/>
              </a:cxn>
              <a:cxn ang="0">
                <a:pos x="191" y="802"/>
              </a:cxn>
              <a:cxn ang="0">
                <a:pos x="153" y="713"/>
              </a:cxn>
              <a:cxn ang="0">
                <a:pos x="104" y="605"/>
              </a:cxn>
              <a:cxn ang="0">
                <a:pos x="91" y="581"/>
              </a:cxn>
              <a:cxn ang="0">
                <a:pos x="58" y="514"/>
              </a:cxn>
              <a:cxn ang="0">
                <a:pos x="3" y="411"/>
              </a:cxn>
              <a:cxn ang="0">
                <a:pos x="0" y="407"/>
              </a:cxn>
              <a:cxn ang="0">
                <a:pos x="0" y="404"/>
              </a:cxn>
            </a:cxnLst>
            <a:rect l="0" t="0" r="r" b="b"/>
            <a:pathLst>
              <a:path w="2812" h="1597">
                <a:moveTo>
                  <a:pt x="0" y="404"/>
                </a:moveTo>
                <a:cubicBezTo>
                  <a:pt x="10" y="387"/>
                  <a:pt x="21" y="370"/>
                  <a:pt x="33" y="354"/>
                </a:cubicBezTo>
                <a:cubicBezTo>
                  <a:pt x="48" y="330"/>
                  <a:pt x="66" y="307"/>
                  <a:pt x="81" y="284"/>
                </a:cubicBezTo>
                <a:cubicBezTo>
                  <a:pt x="86" y="276"/>
                  <a:pt x="93" y="269"/>
                  <a:pt x="100" y="262"/>
                </a:cubicBezTo>
                <a:cubicBezTo>
                  <a:pt x="117" y="242"/>
                  <a:pt x="133" y="221"/>
                  <a:pt x="151" y="203"/>
                </a:cubicBezTo>
                <a:cubicBezTo>
                  <a:pt x="158" y="196"/>
                  <a:pt x="165" y="189"/>
                  <a:pt x="173" y="183"/>
                </a:cubicBezTo>
                <a:cubicBezTo>
                  <a:pt x="184" y="173"/>
                  <a:pt x="194" y="161"/>
                  <a:pt x="206" y="151"/>
                </a:cubicBezTo>
                <a:cubicBezTo>
                  <a:pt x="222" y="140"/>
                  <a:pt x="238" y="128"/>
                  <a:pt x="253" y="116"/>
                </a:cubicBezTo>
                <a:cubicBezTo>
                  <a:pt x="277" y="96"/>
                  <a:pt x="304" y="82"/>
                  <a:pt x="331" y="68"/>
                </a:cubicBezTo>
                <a:cubicBezTo>
                  <a:pt x="373" y="45"/>
                  <a:pt x="418" y="29"/>
                  <a:pt x="465" y="19"/>
                </a:cubicBezTo>
                <a:cubicBezTo>
                  <a:pt x="531" y="4"/>
                  <a:pt x="597" y="0"/>
                  <a:pt x="664" y="5"/>
                </a:cubicBezTo>
                <a:cubicBezTo>
                  <a:pt x="723" y="8"/>
                  <a:pt x="782" y="18"/>
                  <a:pt x="840" y="32"/>
                </a:cubicBezTo>
                <a:cubicBezTo>
                  <a:pt x="864" y="38"/>
                  <a:pt x="888" y="43"/>
                  <a:pt x="911" y="52"/>
                </a:cubicBezTo>
                <a:cubicBezTo>
                  <a:pt x="949" y="65"/>
                  <a:pt x="988" y="77"/>
                  <a:pt x="1026" y="92"/>
                </a:cubicBezTo>
                <a:cubicBezTo>
                  <a:pt x="1041" y="98"/>
                  <a:pt x="1056" y="103"/>
                  <a:pt x="1070" y="109"/>
                </a:cubicBezTo>
                <a:cubicBezTo>
                  <a:pt x="1096" y="122"/>
                  <a:pt x="1123" y="132"/>
                  <a:pt x="1149" y="144"/>
                </a:cubicBezTo>
                <a:cubicBezTo>
                  <a:pt x="1163" y="151"/>
                  <a:pt x="1177" y="157"/>
                  <a:pt x="1191" y="164"/>
                </a:cubicBezTo>
                <a:cubicBezTo>
                  <a:pt x="1218" y="177"/>
                  <a:pt x="1245" y="191"/>
                  <a:pt x="1272" y="205"/>
                </a:cubicBezTo>
                <a:cubicBezTo>
                  <a:pt x="1286" y="212"/>
                  <a:pt x="1300" y="218"/>
                  <a:pt x="1313" y="225"/>
                </a:cubicBezTo>
                <a:cubicBezTo>
                  <a:pt x="1341" y="243"/>
                  <a:pt x="1371" y="256"/>
                  <a:pt x="1399" y="273"/>
                </a:cubicBezTo>
                <a:cubicBezTo>
                  <a:pt x="1420" y="286"/>
                  <a:pt x="1441" y="298"/>
                  <a:pt x="1462" y="310"/>
                </a:cubicBezTo>
                <a:cubicBezTo>
                  <a:pt x="1480" y="320"/>
                  <a:pt x="1498" y="330"/>
                  <a:pt x="1515" y="341"/>
                </a:cubicBezTo>
                <a:cubicBezTo>
                  <a:pt x="1539" y="355"/>
                  <a:pt x="1562" y="371"/>
                  <a:pt x="1587" y="384"/>
                </a:cubicBezTo>
                <a:cubicBezTo>
                  <a:pt x="1603" y="394"/>
                  <a:pt x="1617" y="405"/>
                  <a:pt x="1633" y="414"/>
                </a:cubicBezTo>
                <a:cubicBezTo>
                  <a:pt x="1656" y="429"/>
                  <a:pt x="1680" y="442"/>
                  <a:pt x="1703" y="457"/>
                </a:cubicBezTo>
                <a:cubicBezTo>
                  <a:pt x="1725" y="471"/>
                  <a:pt x="1747" y="485"/>
                  <a:pt x="1770" y="498"/>
                </a:cubicBezTo>
                <a:cubicBezTo>
                  <a:pt x="1780" y="504"/>
                  <a:pt x="1790" y="508"/>
                  <a:pt x="1799" y="514"/>
                </a:cubicBezTo>
                <a:cubicBezTo>
                  <a:pt x="1829" y="535"/>
                  <a:pt x="1863" y="550"/>
                  <a:pt x="1894" y="569"/>
                </a:cubicBezTo>
                <a:cubicBezTo>
                  <a:pt x="1931" y="590"/>
                  <a:pt x="1969" y="608"/>
                  <a:pt x="2007" y="628"/>
                </a:cubicBezTo>
                <a:cubicBezTo>
                  <a:pt x="2033" y="642"/>
                  <a:pt x="2060" y="655"/>
                  <a:pt x="2087" y="668"/>
                </a:cubicBezTo>
                <a:cubicBezTo>
                  <a:pt x="2102" y="675"/>
                  <a:pt x="2118" y="681"/>
                  <a:pt x="2132" y="689"/>
                </a:cubicBezTo>
                <a:cubicBezTo>
                  <a:pt x="2157" y="702"/>
                  <a:pt x="2183" y="712"/>
                  <a:pt x="2208" y="724"/>
                </a:cubicBezTo>
                <a:cubicBezTo>
                  <a:pt x="2229" y="733"/>
                  <a:pt x="2250" y="740"/>
                  <a:pt x="2270" y="750"/>
                </a:cubicBezTo>
                <a:cubicBezTo>
                  <a:pt x="2292" y="760"/>
                  <a:pt x="2314" y="768"/>
                  <a:pt x="2336" y="777"/>
                </a:cubicBezTo>
                <a:cubicBezTo>
                  <a:pt x="2362" y="787"/>
                  <a:pt x="2389" y="795"/>
                  <a:pt x="2414" y="806"/>
                </a:cubicBezTo>
                <a:cubicBezTo>
                  <a:pt x="2450" y="821"/>
                  <a:pt x="2486" y="832"/>
                  <a:pt x="2523" y="843"/>
                </a:cubicBezTo>
                <a:cubicBezTo>
                  <a:pt x="2548" y="851"/>
                  <a:pt x="2574" y="858"/>
                  <a:pt x="2599" y="866"/>
                </a:cubicBezTo>
                <a:cubicBezTo>
                  <a:pt x="2637" y="878"/>
                  <a:pt x="2675" y="886"/>
                  <a:pt x="2713" y="894"/>
                </a:cubicBezTo>
                <a:cubicBezTo>
                  <a:pt x="2744" y="901"/>
                  <a:pt x="2774" y="906"/>
                  <a:pt x="2805" y="910"/>
                </a:cubicBezTo>
                <a:cubicBezTo>
                  <a:pt x="2807" y="910"/>
                  <a:pt x="2810" y="910"/>
                  <a:pt x="2812" y="910"/>
                </a:cubicBezTo>
                <a:cubicBezTo>
                  <a:pt x="2812" y="1139"/>
                  <a:pt x="2812" y="1368"/>
                  <a:pt x="2812" y="1597"/>
                </a:cubicBezTo>
                <a:cubicBezTo>
                  <a:pt x="2809" y="1596"/>
                  <a:pt x="2805" y="1597"/>
                  <a:pt x="2802" y="1597"/>
                </a:cubicBezTo>
                <a:cubicBezTo>
                  <a:pt x="2167" y="1597"/>
                  <a:pt x="1531" y="1597"/>
                  <a:pt x="896" y="1597"/>
                </a:cubicBezTo>
                <a:cubicBezTo>
                  <a:pt x="662" y="1597"/>
                  <a:pt x="428" y="1597"/>
                  <a:pt x="194" y="1597"/>
                </a:cubicBezTo>
                <a:cubicBezTo>
                  <a:pt x="192" y="1597"/>
                  <a:pt x="189" y="1597"/>
                  <a:pt x="186" y="1596"/>
                </a:cubicBezTo>
                <a:cubicBezTo>
                  <a:pt x="198" y="1586"/>
                  <a:pt x="208" y="1577"/>
                  <a:pt x="219" y="1567"/>
                </a:cubicBezTo>
                <a:cubicBezTo>
                  <a:pt x="250" y="1539"/>
                  <a:pt x="269" y="1502"/>
                  <a:pt x="285" y="1465"/>
                </a:cubicBezTo>
                <a:cubicBezTo>
                  <a:pt x="298" y="1432"/>
                  <a:pt x="304" y="1398"/>
                  <a:pt x="308" y="1363"/>
                </a:cubicBezTo>
                <a:cubicBezTo>
                  <a:pt x="313" y="1310"/>
                  <a:pt x="311" y="1258"/>
                  <a:pt x="305" y="1206"/>
                </a:cubicBezTo>
                <a:cubicBezTo>
                  <a:pt x="299" y="1159"/>
                  <a:pt x="291" y="1112"/>
                  <a:pt x="278" y="1067"/>
                </a:cubicBezTo>
                <a:cubicBezTo>
                  <a:pt x="269" y="1037"/>
                  <a:pt x="263" y="1006"/>
                  <a:pt x="253" y="977"/>
                </a:cubicBezTo>
                <a:cubicBezTo>
                  <a:pt x="242" y="942"/>
                  <a:pt x="232" y="906"/>
                  <a:pt x="217" y="872"/>
                </a:cubicBezTo>
                <a:cubicBezTo>
                  <a:pt x="208" y="849"/>
                  <a:pt x="200" y="825"/>
                  <a:pt x="191" y="802"/>
                </a:cubicBezTo>
                <a:cubicBezTo>
                  <a:pt x="178" y="772"/>
                  <a:pt x="167" y="742"/>
                  <a:pt x="153" y="713"/>
                </a:cubicBezTo>
                <a:cubicBezTo>
                  <a:pt x="136" y="677"/>
                  <a:pt x="120" y="641"/>
                  <a:pt x="104" y="605"/>
                </a:cubicBezTo>
                <a:cubicBezTo>
                  <a:pt x="100" y="597"/>
                  <a:pt x="95" y="589"/>
                  <a:pt x="91" y="581"/>
                </a:cubicBezTo>
                <a:cubicBezTo>
                  <a:pt x="81" y="558"/>
                  <a:pt x="69" y="536"/>
                  <a:pt x="58" y="514"/>
                </a:cubicBezTo>
                <a:cubicBezTo>
                  <a:pt x="41" y="479"/>
                  <a:pt x="21" y="445"/>
                  <a:pt x="3" y="411"/>
                </a:cubicBezTo>
                <a:cubicBezTo>
                  <a:pt x="2" y="409"/>
                  <a:pt x="2" y="407"/>
                  <a:pt x="0" y="407"/>
                </a:cubicBezTo>
                <a:cubicBezTo>
                  <a:pt x="0" y="406"/>
                  <a:pt x="0" y="405"/>
                  <a:pt x="0" y="404"/>
                </a:cubicBezTo>
                <a:close/>
              </a:path>
            </a:pathLst>
          </a:cu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3" name="Retângulo 43"/>
          <p:cNvSpPr/>
          <p:nvPr userDrawn="1"/>
        </p:nvSpPr>
        <p:spPr>
          <a:xfrm>
            <a:off x="11837652" y="6650939"/>
            <a:ext cx="127000" cy="122555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8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raphic 10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9060"/>
          <a:stretch>
            <a:fillRect/>
          </a:stretch>
        </p:blipFill>
        <p:spPr>
          <a:xfrm rot="16200000" flipH="1" flipV="1">
            <a:off x="9304513" y="3970514"/>
            <a:ext cx="2996949" cy="2778022"/>
          </a:xfrm>
          <a:prstGeom prst="rect">
            <a:avLst/>
          </a:prstGeom>
        </p:spPr>
      </p:pic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6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altLang="zh-CN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GB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altLang="zh-CN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altLang="zh-CN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altLang="zh-CN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21"/>
          <p:cNvGrpSpPr>
            <a:grpSpLocks noChangeAspect="1"/>
          </p:cNvGrpSpPr>
          <p:nvPr userDrawn="1"/>
        </p:nvGrpSpPr>
        <p:grpSpPr>
          <a:xfrm flipH="1">
            <a:off x="7395210" y="5127625"/>
            <a:ext cx="5417820" cy="1752600"/>
            <a:chOff x="6043555" y="446217"/>
            <a:chExt cx="5420565" cy="1631553"/>
          </a:xfrm>
        </p:grpSpPr>
        <p:sp>
          <p:nvSpPr>
            <p:cNvPr id="10" name="Forme libre : forme 19"/>
            <p:cNvSpPr/>
            <p:nvPr/>
          </p:nvSpPr>
          <p:spPr>
            <a:xfrm>
              <a:off x="6043555" y="448995"/>
              <a:ext cx="1362075" cy="1628775"/>
            </a:xfrm>
            <a:custGeom>
              <a:avLst/>
              <a:gdLst>
                <a:gd name="connsiteX0" fmla="*/ 850487 w 1362075"/>
                <a:gd name="connsiteY0" fmla="*/ 1622774 h 1628775"/>
                <a:gd name="connsiteX1" fmla="*/ 1187863 w 1362075"/>
                <a:gd name="connsiteY1" fmla="*/ 1357027 h 1628775"/>
                <a:gd name="connsiteX2" fmla="*/ 1156716 w 1362075"/>
                <a:gd name="connsiteY2" fmla="*/ 541306 h 1628775"/>
                <a:gd name="connsiteX3" fmla="*/ 1364171 w 1362075"/>
                <a:gd name="connsiteY3" fmla="*/ 7144 h 1628775"/>
                <a:gd name="connsiteX4" fmla="*/ 94107 w 1362075"/>
                <a:gd name="connsiteY4" fmla="*/ 1383316 h 1628775"/>
                <a:gd name="connsiteX5" fmla="*/ 7144 w 1362075"/>
                <a:gd name="connsiteY5" fmla="*/ 1622774 h 1628775"/>
                <a:gd name="connsiteX6" fmla="*/ 850487 w 1362075"/>
                <a:gd name="connsiteY6" fmla="*/ 1622774 h 1628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075" h="1628775">
                  <a:moveTo>
                    <a:pt x="850487" y="1622774"/>
                  </a:moveTo>
                  <a:cubicBezTo>
                    <a:pt x="962501" y="1540669"/>
                    <a:pt x="1075754" y="1451991"/>
                    <a:pt x="1187863" y="1357027"/>
                  </a:cubicBezTo>
                  <a:cubicBezTo>
                    <a:pt x="1232440" y="1256824"/>
                    <a:pt x="1338358" y="1049846"/>
                    <a:pt x="1156716" y="541306"/>
                  </a:cubicBezTo>
                  <a:cubicBezTo>
                    <a:pt x="984980" y="60865"/>
                    <a:pt x="1326166" y="11144"/>
                    <a:pt x="1364171" y="7144"/>
                  </a:cubicBezTo>
                  <a:cubicBezTo>
                    <a:pt x="1019556" y="38767"/>
                    <a:pt x="583692" y="356140"/>
                    <a:pt x="94107" y="1383316"/>
                  </a:cubicBezTo>
                  <a:cubicBezTo>
                    <a:pt x="53912" y="1467612"/>
                    <a:pt x="25432" y="1547241"/>
                    <a:pt x="7144" y="1622774"/>
                  </a:cubicBezTo>
                  <a:lnTo>
                    <a:pt x="850487" y="1622774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0070AD">
                <a:shade val="50000"/>
              </a:srgbClr>
            </a:lnRef>
            <a:fillRef idx="1">
              <a:srgbClr val="0070AD"/>
            </a:fillRef>
            <a:effectRef idx="0">
              <a:srgbClr val="0070AD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orme libre : forme 20"/>
            <p:cNvSpPr/>
            <p:nvPr/>
          </p:nvSpPr>
          <p:spPr>
            <a:xfrm>
              <a:off x="6882595" y="446217"/>
              <a:ext cx="4581525" cy="1628775"/>
            </a:xfrm>
            <a:custGeom>
              <a:avLst/>
              <a:gdLst>
                <a:gd name="connsiteX0" fmla="*/ 7144 w 4581525"/>
                <a:gd name="connsiteY0" fmla="*/ 1625553 h 1628775"/>
                <a:gd name="connsiteX1" fmla="*/ 4189667 w 4581525"/>
                <a:gd name="connsiteY1" fmla="*/ 1625553 h 1628775"/>
                <a:gd name="connsiteX2" fmla="*/ 4225195 w 4581525"/>
                <a:gd name="connsiteY2" fmla="*/ 1625553 h 1628775"/>
                <a:gd name="connsiteX3" fmla="*/ 4580382 w 4581525"/>
                <a:gd name="connsiteY3" fmla="*/ 1625553 h 1628775"/>
                <a:gd name="connsiteX4" fmla="*/ 4310539 w 4581525"/>
                <a:gd name="connsiteY4" fmla="*/ 1141968 h 1628775"/>
                <a:gd name="connsiteX5" fmla="*/ 2759774 w 4581525"/>
                <a:gd name="connsiteY5" fmla="*/ 462741 h 1628775"/>
                <a:gd name="connsiteX6" fmla="*/ 1245203 w 4581525"/>
                <a:gd name="connsiteY6" fmla="*/ 349869 h 1628775"/>
                <a:gd name="connsiteX7" fmla="*/ 524256 w 4581525"/>
                <a:gd name="connsiteY7" fmla="*/ 9541 h 1628775"/>
                <a:gd name="connsiteX8" fmla="*/ 524065 w 4581525"/>
                <a:gd name="connsiteY8" fmla="*/ 9541 h 1628775"/>
                <a:gd name="connsiteX9" fmla="*/ 520827 w 4581525"/>
                <a:gd name="connsiteY9" fmla="*/ 9827 h 1628775"/>
                <a:gd name="connsiteX10" fmla="*/ 313373 w 4581525"/>
                <a:gd name="connsiteY10" fmla="*/ 544084 h 1628775"/>
                <a:gd name="connsiteX11" fmla="*/ 344519 w 4581525"/>
                <a:gd name="connsiteY11" fmla="*/ 1359710 h 1628775"/>
                <a:gd name="connsiteX12" fmla="*/ 7144 w 4581525"/>
                <a:gd name="connsiteY12" fmla="*/ 1625553 h 1628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81525" h="1628775">
                  <a:moveTo>
                    <a:pt x="7144" y="1625553"/>
                  </a:moveTo>
                  <a:cubicBezTo>
                    <a:pt x="7144" y="1625553"/>
                    <a:pt x="3110675" y="1625553"/>
                    <a:pt x="4189667" y="1625553"/>
                  </a:cubicBezTo>
                  <a:cubicBezTo>
                    <a:pt x="4201668" y="1625553"/>
                    <a:pt x="4213765" y="1625553"/>
                    <a:pt x="4225195" y="1625553"/>
                  </a:cubicBezTo>
                  <a:lnTo>
                    <a:pt x="4580382" y="1625553"/>
                  </a:lnTo>
                  <a:cubicBezTo>
                    <a:pt x="4541139" y="1468676"/>
                    <a:pt x="4420743" y="1285510"/>
                    <a:pt x="4310539" y="1141968"/>
                  </a:cubicBezTo>
                  <a:cubicBezTo>
                    <a:pt x="4008977" y="742204"/>
                    <a:pt x="3363373" y="108792"/>
                    <a:pt x="2759774" y="462741"/>
                  </a:cubicBezTo>
                  <a:cubicBezTo>
                    <a:pt x="1945386" y="940229"/>
                    <a:pt x="1353407" y="1406478"/>
                    <a:pt x="1245203" y="349869"/>
                  </a:cubicBezTo>
                  <a:cubicBezTo>
                    <a:pt x="1122140" y="235665"/>
                    <a:pt x="869156" y="-20272"/>
                    <a:pt x="524256" y="9541"/>
                  </a:cubicBezTo>
                  <a:cubicBezTo>
                    <a:pt x="524256" y="9541"/>
                    <a:pt x="524161" y="9541"/>
                    <a:pt x="524065" y="9541"/>
                  </a:cubicBezTo>
                  <a:cubicBezTo>
                    <a:pt x="523018" y="9636"/>
                    <a:pt x="521970" y="9732"/>
                    <a:pt x="520827" y="9827"/>
                  </a:cubicBezTo>
                  <a:cubicBezTo>
                    <a:pt x="482822" y="13827"/>
                    <a:pt x="141732" y="63548"/>
                    <a:pt x="313373" y="544084"/>
                  </a:cubicBezTo>
                  <a:cubicBezTo>
                    <a:pt x="495014" y="1052529"/>
                    <a:pt x="389096" y="1259602"/>
                    <a:pt x="344519" y="1359710"/>
                  </a:cubicBezTo>
                  <a:cubicBezTo>
                    <a:pt x="232410" y="1454769"/>
                    <a:pt x="119158" y="1543447"/>
                    <a:pt x="7144" y="1625553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rgbClr val="2B143D">
                <a:shade val="50000"/>
              </a:srgbClr>
            </a:lnRef>
            <a:fillRef idx="1">
              <a:srgbClr val="2B143D"/>
            </a:fillRef>
            <a:effectRef idx="0">
              <a:srgbClr val="2B143D"/>
            </a:effectRef>
            <a:fontRef idx="minor">
              <a:srgbClr val="FFFFFF"/>
            </a:fontRef>
          </p:style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8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2019 world's most ethical companies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890" y="3288938"/>
            <a:ext cx="12200890" cy="3596062"/>
          </a:xfrm>
          <a:prstGeom prst="rect">
            <a:avLst/>
          </a:prstGeom>
        </p:spPr>
      </p:pic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8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270953"/>
            <a:ext cx="12192000" cy="359657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8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  <a:endParaRPr lang="en-US" dirty="0"/>
          </a:p>
        </p:txBody>
      </p:sp>
      <p:sp>
        <p:nvSpPr>
          <p:cNvPr id="13" name="Oval 20"/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-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>
            <a:grpSpLocks noChangeAspect="1"/>
          </p:cNvGrpSpPr>
          <p:nvPr userDrawn="1"/>
        </p:nvGrpSpPr>
        <p:grpSpPr>
          <a:xfrm flipH="1">
            <a:off x="-9525" y="1616075"/>
            <a:ext cx="6546850" cy="5241925"/>
            <a:chOff x="3731385" y="1559698"/>
            <a:chExt cx="4718061" cy="3733800"/>
          </a:xfrm>
        </p:grpSpPr>
        <p:sp>
          <p:nvSpPr>
            <p:cNvPr id="3" name="Forme libre : forme 4"/>
            <p:cNvSpPr/>
            <p:nvPr/>
          </p:nvSpPr>
          <p:spPr>
            <a:xfrm>
              <a:off x="3731385" y="1559698"/>
              <a:ext cx="4429125" cy="3733800"/>
            </a:xfrm>
            <a:custGeom>
              <a:avLst/>
              <a:gdLst>
                <a:gd name="connsiteX0" fmla="*/ 3220531 w 4429125"/>
                <a:gd name="connsiteY0" fmla="*/ 3729915 h 3733800"/>
                <a:gd name="connsiteX1" fmla="*/ 3193576 w 4429125"/>
                <a:gd name="connsiteY1" fmla="*/ 2735410 h 3733800"/>
                <a:gd name="connsiteX2" fmla="*/ 4325146 w 4429125"/>
                <a:gd name="connsiteY2" fmla="*/ 1751096 h 3733800"/>
                <a:gd name="connsiteX3" fmla="*/ 4141980 w 4429125"/>
                <a:gd name="connsiteY3" fmla="*/ 380925 h 3733800"/>
                <a:gd name="connsiteX4" fmla="*/ 2705895 w 4429125"/>
                <a:gd name="connsiteY4" fmla="*/ 137371 h 3733800"/>
                <a:gd name="connsiteX5" fmla="*/ 29561 w 4429125"/>
                <a:gd name="connsiteY5" fmla="*/ 3463596 h 3733800"/>
                <a:gd name="connsiteX6" fmla="*/ 13273 w 4429125"/>
                <a:gd name="connsiteY6" fmla="*/ 3729820 h 3733800"/>
                <a:gd name="connsiteX7" fmla="*/ 3220531 w 4429125"/>
                <a:gd name="connsiteY7" fmla="*/ 3729820 h 373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29125" h="3733800">
                  <a:moveTo>
                    <a:pt x="3220531" y="3729915"/>
                  </a:moveTo>
                  <a:cubicBezTo>
                    <a:pt x="3157857" y="3190324"/>
                    <a:pt x="3193576" y="2735410"/>
                    <a:pt x="3193576" y="2735410"/>
                  </a:cubicBezTo>
                  <a:cubicBezTo>
                    <a:pt x="3193576" y="2735410"/>
                    <a:pt x="3910999" y="2341837"/>
                    <a:pt x="4325146" y="1751096"/>
                  </a:cubicBezTo>
                  <a:cubicBezTo>
                    <a:pt x="4582130" y="1384574"/>
                    <a:pt x="4309810" y="505512"/>
                    <a:pt x="4141980" y="380925"/>
                  </a:cubicBezTo>
                  <a:cubicBezTo>
                    <a:pt x="3766218" y="-2170"/>
                    <a:pt x="3185098" y="-104183"/>
                    <a:pt x="2705895" y="137371"/>
                  </a:cubicBezTo>
                  <a:cubicBezTo>
                    <a:pt x="2716659" y="2179626"/>
                    <a:pt x="29561" y="3463596"/>
                    <a:pt x="29561" y="3463596"/>
                  </a:cubicBezTo>
                  <a:cubicBezTo>
                    <a:pt x="29561" y="3463596"/>
                    <a:pt x="-7015" y="3587421"/>
                    <a:pt x="13273" y="3729820"/>
                  </a:cubicBezTo>
                  <a:lnTo>
                    <a:pt x="3220531" y="3729820"/>
                  </a:lnTo>
                  <a:close/>
                </a:path>
              </a:pathLst>
            </a:custGeom>
            <a:solidFill>
              <a:srgbClr val="0070AD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orme libre : forme 5"/>
            <p:cNvSpPr/>
            <p:nvPr/>
          </p:nvSpPr>
          <p:spPr>
            <a:xfrm>
              <a:off x="6382521" y="1897361"/>
              <a:ext cx="2066925" cy="3390900"/>
            </a:xfrm>
            <a:custGeom>
              <a:avLst/>
              <a:gdLst>
                <a:gd name="connsiteX0" fmla="*/ 1427978 w 2066925"/>
                <a:gd name="connsiteY0" fmla="*/ 990619 h 3390900"/>
                <a:gd name="connsiteX1" fmla="*/ 17326 w 2066925"/>
                <a:gd name="connsiteY1" fmla="*/ 1994078 h 3390900"/>
                <a:gd name="connsiteX2" fmla="*/ 108956 w 2066925"/>
                <a:gd name="connsiteY2" fmla="*/ 3390633 h 3390900"/>
                <a:gd name="connsiteX3" fmla="*/ 2065392 w 2066925"/>
                <a:gd name="connsiteY3" fmla="*/ 3390633 h 3390900"/>
                <a:gd name="connsiteX4" fmla="*/ 2066344 w 2066925"/>
                <a:gd name="connsiteY4" fmla="*/ 1694612 h 3390900"/>
                <a:gd name="connsiteX5" fmla="*/ 1457601 w 2066925"/>
                <a:gd name="connsiteY5" fmla="*/ 10401 h 3390900"/>
                <a:gd name="connsiteX6" fmla="*/ 1427978 w 2066925"/>
                <a:gd name="connsiteY6" fmla="*/ 990619 h 3390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66925" h="3390900">
                  <a:moveTo>
                    <a:pt x="1427978" y="990619"/>
                  </a:moveTo>
                  <a:cubicBezTo>
                    <a:pt x="1000020" y="1571358"/>
                    <a:pt x="17326" y="1994078"/>
                    <a:pt x="17326" y="1994078"/>
                  </a:cubicBezTo>
                  <a:cubicBezTo>
                    <a:pt x="17326" y="1994078"/>
                    <a:pt x="-37919" y="2696166"/>
                    <a:pt x="108956" y="3390633"/>
                  </a:cubicBezTo>
                  <a:lnTo>
                    <a:pt x="2065392" y="3390633"/>
                  </a:lnTo>
                  <a:cubicBezTo>
                    <a:pt x="2065392" y="3390633"/>
                    <a:pt x="2066344" y="2421084"/>
                    <a:pt x="2066344" y="1694612"/>
                  </a:cubicBezTo>
                  <a:cubicBezTo>
                    <a:pt x="2066344" y="1230459"/>
                    <a:pt x="2000717" y="513893"/>
                    <a:pt x="1457601" y="10401"/>
                  </a:cubicBezTo>
                  <a:cubicBezTo>
                    <a:pt x="1410262" y="-33604"/>
                    <a:pt x="1883750" y="372161"/>
                    <a:pt x="1427978" y="990619"/>
                  </a:cubicBezTo>
                </a:path>
              </a:pathLst>
            </a:custGeom>
            <a:solidFill>
              <a:srgbClr val="95E61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3673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889136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16883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902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9"/>
          <p:cNvSpPr/>
          <p:nvPr userDrawn="1"/>
        </p:nvSpPr>
        <p:spPr bwMode="auto">
          <a:xfrm rot="16200000" flipH="1">
            <a:off x="5598887" y="279401"/>
            <a:ext cx="6872513" cy="6313712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7349" y="-1"/>
            <a:ext cx="5636422" cy="1785257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5" name="Freeform 13"/>
          <p:cNvSpPr/>
          <p:nvPr userDrawn="1"/>
        </p:nvSpPr>
        <p:spPr bwMode="auto">
          <a:xfrm>
            <a:off x="11644642" y="334376"/>
            <a:ext cx="275896" cy="226185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6" name="Freeform 14"/>
          <p:cNvSpPr/>
          <p:nvPr userDrawn="1"/>
        </p:nvSpPr>
        <p:spPr bwMode="auto">
          <a:xfrm>
            <a:off x="11501102" y="171573"/>
            <a:ext cx="419436" cy="356676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227013" y="2565000"/>
            <a:ext cx="9253537" cy="3924700"/>
          </a:xfrm>
        </p:spPr>
        <p:txBody>
          <a:bodyPr/>
          <a:lstStyle/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altLang="zh-CN" dirty="0"/>
          </a:p>
        </p:txBody>
      </p: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13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9"/>
          <p:cNvSpPr>
            <a:spLocks noGrp="1"/>
          </p:cNvSpPr>
          <p:nvPr>
            <p:ph type="body" sz="quarter" idx="42" hasCustomPrompt="1"/>
          </p:nvPr>
        </p:nvSpPr>
        <p:spPr>
          <a:xfrm>
            <a:off x="6949440" y="1259376"/>
            <a:ext cx="4704974" cy="2801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44" hasCustomPrompt="1"/>
          </p:nvPr>
        </p:nvSpPr>
        <p:spPr>
          <a:xfrm>
            <a:off x="6949440" y="5568661"/>
            <a:ext cx="4704974" cy="3338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500" b="1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Insert text data</a:t>
            </a:r>
            <a:endParaRPr lang="en-US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45" hasCustomPrompt="1"/>
          </p:nvPr>
        </p:nvSpPr>
        <p:spPr>
          <a:xfrm>
            <a:off x="6949440" y="4581128"/>
            <a:ext cx="4704974" cy="9833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rgbClr val="2B0A3D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Nº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6362137" cy="1104900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31" name="Freeform 13"/>
          <p:cNvSpPr/>
          <p:nvPr userDrawn="1"/>
        </p:nvSpPr>
        <p:spPr bwMode="auto">
          <a:xfrm>
            <a:off x="11644642" y="334376"/>
            <a:ext cx="275896" cy="226185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32" name="Freeform 14"/>
          <p:cNvSpPr/>
          <p:nvPr userDrawn="1"/>
        </p:nvSpPr>
        <p:spPr bwMode="auto">
          <a:xfrm>
            <a:off x="11501102" y="171573"/>
            <a:ext cx="419436" cy="356676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/>
          <p:cNvGrpSpPr/>
          <p:nvPr userDrawn="1"/>
        </p:nvGrpSpPr>
        <p:grpSpPr>
          <a:xfrm>
            <a:off x="6362242" y="1"/>
            <a:ext cx="5829758" cy="6879905"/>
            <a:chOff x="6185494" y="14514"/>
            <a:chExt cx="5805161" cy="6850878"/>
          </a:xfrm>
          <a:solidFill>
            <a:schemeClr val="accent5"/>
          </a:solidFill>
        </p:grpSpPr>
        <p:sp>
          <p:nvSpPr>
            <p:cNvPr id="87046" name="Freeform 6"/>
            <p:cNvSpPr/>
            <p:nvPr userDrawn="1"/>
          </p:nvSpPr>
          <p:spPr bwMode="auto">
            <a:xfrm>
              <a:off x="6185494" y="3572437"/>
              <a:ext cx="5805160" cy="3292955"/>
            </a:xfrm>
            <a:custGeom>
              <a:avLst/>
              <a:gdLst/>
              <a:ahLst/>
              <a:cxnLst>
                <a:cxn ang="0">
                  <a:pos x="0" y="404"/>
                </a:cxn>
                <a:cxn ang="0">
                  <a:pos x="33" y="354"/>
                </a:cxn>
                <a:cxn ang="0">
                  <a:pos x="81" y="284"/>
                </a:cxn>
                <a:cxn ang="0">
                  <a:pos x="100" y="262"/>
                </a:cxn>
                <a:cxn ang="0">
                  <a:pos x="151" y="203"/>
                </a:cxn>
                <a:cxn ang="0">
                  <a:pos x="173" y="183"/>
                </a:cxn>
                <a:cxn ang="0">
                  <a:pos x="206" y="151"/>
                </a:cxn>
                <a:cxn ang="0">
                  <a:pos x="253" y="116"/>
                </a:cxn>
                <a:cxn ang="0">
                  <a:pos x="331" y="68"/>
                </a:cxn>
                <a:cxn ang="0">
                  <a:pos x="465" y="19"/>
                </a:cxn>
                <a:cxn ang="0">
                  <a:pos x="664" y="5"/>
                </a:cxn>
                <a:cxn ang="0">
                  <a:pos x="840" y="32"/>
                </a:cxn>
                <a:cxn ang="0">
                  <a:pos x="911" y="52"/>
                </a:cxn>
                <a:cxn ang="0">
                  <a:pos x="1026" y="92"/>
                </a:cxn>
                <a:cxn ang="0">
                  <a:pos x="1070" y="109"/>
                </a:cxn>
                <a:cxn ang="0">
                  <a:pos x="1149" y="144"/>
                </a:cxn>
                <a:cxn ang="0">
                  <a:pos x="1191" y="164"/>
                </a:cxn>
                <a:cxn ang="0">
                  <a:pos x="1272" y="205"/>
                </a:cxn>
                <a:cxn ang="0">
                  <a:pos x="1313" y="225"/>
                </a:cxn>
                <a:cxn ang="0">
                  <a:pos x="1399" y="273"/>
                </a:cxn>
                <a:cxn ang="0">
                  <a:pos x="1462" y="310"/>
                </a:cxn>
                <a:cxn ang="0">
                  <a:pos x="1515" y="341"/>
                </a:cxn>
                <a:cxn ang="0">
                  <a:pos x="1587" y="384"/>
                </a:cxn>
                <a:cxn ang="0">
                  <a:pos x="1633" y="414"/>
                </a:cxn>
                <a:cxn ang="0">
                  <a:pos x="1703" y="457"/>
                </a:cxn>
                <a:cxn ang="0">
                  <a:pos x="1770" y="498"/>
                </a:cxn>
                <a:cxn ang="0">
                  <a:pos x="1799" y="514"/>
                </a:cxn>
                <a:cxn ang="0">
                  <a:pos x="1894" y="569"/>
                </a:cxn>
                <a:cxn ang="0">
                  <a:pos x="2007" y="628"/>
                </a:cxn>
                <a:cxn ang="0">
                  <a:pos x="2087" y="668"/>
                </a:cxn>
                <a:cxn ang="0">
                  <a:pos x="2132" y="689"/>
                </a:cxn>
                <a:cxn ang="0">
                  <a:pos x="2208" y="724"/>
                </a:cxn>
                <a:cxn ang="0">
                  <a:pos x="2270" y="750"/>
                </a:cxn>
                <a:cxn ang="0">
                  <a:pos x="2336" y="777"/>
                </a:cxn>
                <a:cxn ang="0">
                  <a:pos x="2414" y="806"/>
                </a:cxn>
                <a:cxn ang="0">
                  <a:pos x="2523" y="843"/>
                </a:cxn>
                <a:cxn ang="0">
                  <a:pos x="2599" y="866"/>
                </a:cxn>
                <a:cxn ang="0">
                  <a:pos x="2713" y="894"/>
                </a:cxn>
                <a:cxn ang="0">
                  <a:pos x="2805" y="910"/>
                </a:cxn>
                <a:cxn ang="0">
                  <a:pos x="2812" y="910"/>
                </a:cxn>
                <a:cxn ang="0">
                  <a:pos x="2812" y="1597"/>
                </a:cxn>
                <a:cxn ang="0">
                  <a:pos x="2802" y="1597"/>
                </a:cxn>
                <a:cxn ang="0">
                  <a:pos x="896" y="1597"/>
                </a:cxn>
                <a:cxn ang="0">
                  <a:pos x="194" y="1597"/>
                </a:cxn>
                <a:cxn ang="0">
                  <a:pos x="186" y="1596"/>
                </a:cxn>
                <a:cxn ang="0">
                  <a:pos x="219" y="1567"/>
                </a:cxn>
                <a:cxn ang="0">
                  <a:pos x="285" y="1465"/>
                </a:cxn>
                <a:cxn ang="0">
                  <a:pos x="308" y="1363"/>
                </a:cxn>
                <a:cxn ang="0">
                  <a:pos x="305" y="1206"/>
                </a:cxn>
                <a:cxn ang="0">
                  <a:pos x="278" y="1067"/>
                </a:cxn>
                <a:cxn ang="0">
                  <a:pos x="253" y="977"/>
                </a:cxn>
                <a:cxn ang="0">
                  <a:pos x="217" y="872"/>
                </a:cxn>
                <a:cxn ang="0">
                  <a:pos x="191" y="802"/>
                </a:cxn>
                <a:cxn ang="0">
                  <a:pos x="153" y="713"/>
                </a:cxn>
                <a:cxn ang="0">
                  <a:pos x="104" y="605"/>
                </a:cxn>
                <a:cxn ang="0">
                  <a:pos x="91" y="581"/>
                </a:cxn>
                <a:cxn ang="0">
                  <a:pos x="58" y="514"/>
                </a:cxn>
                <a:cxn ang="0">
                  <a:pos x="3" y="411"/>
                </a:cxn>
                <a:cxn ang="0">
                  <a:pos x="0" y="407"/>
                </a:cxn>
                <a:cxn ang="0">
                  <a:pos x="0" y="404"/>
                </a:cxn>
              </a:cxnLst>
              <a:rect l="0" t="0" r="r" b="b"/>
              <a:pathLst>
                <a:path w="2812" h="1597">
                  <a:moveTo>
                    <a:pt x="0" y="404"/>
                  </a:moveTo>
                  <a:cubicBezTo>
                    <a:pt x="10" y="387"/>
                    <a:pt x="21" y="370"/>
                    <a:pt x="33" y="354"/>
                  </a:cubicBezTo>
                  <a:cubicBezTo>
                    <a:pt x="48" y="330"/>
                    <a:pt x="66" y="307"/>
                    <a:pt x="81" y="284"/>
                  </a:cubicBezTo>
                  <a:cubicBezTo>
                    <a:pt x="86" y="276"/>
                    <a:pt x="93" y="269"/>
                    <a:pt x="100" y="262"/>
                  </a:cubicBezTo>
                  <a:cubicBezTo>
                    <a:pt x="117" y="242"/>
                    <a:pt x="133" y="221"/>
                    <a:pt x="151" y="203"/>
                  </a:cubicBezTo>
                  <a:cubicBezTo>
                    <a:pt x="158" y="196"/>
                    <a:pt x="165" y="189"/>
                    <a:pt x="173" y="183"/>
                  </a:cubicBezTo>
                  <a:cubicBezTo>
                    <a:pt x="184" y="173"/>
                    <a:pt x="194" y="161"/>
                    <a:pt x="206" y="151"/>
                  </a:cubicBezTo>
                  <a:cubicBezTo>
                    <a:pt x="222" y="140"/>
                    <a:pt x="238" y="128"/>
                    <a:pt x="253" y="116"/>
                  </a:cubicBezTo>
                  <a:cubicBezTo>
                    <a:pt x="277" y="96"/>
                    <a:pt x="304" y="82"/>
                    <a:pt x="331" y="68"/>
                  </a:cubicBezTo>
                  <a:cubicBezTo>
                    <a:pt x="373" y="45"/>
                    <a:pt x="418" y="29"/>
                    <a:pt x="465" y="19"/>
                  </a:cubicBezTo>
                  <a:cubicBezTo>
                    <a:pt x="531" y="4"/>
                    <a:pt x="597" y="0"/>
                    <a:pt x="664" y="5"/>
                  </a:cubicBezTo>
                  <a:cubicBezTo>
                    <a:pt x="723" y="8"/>
                    <a:pt x="782" y="18"/>
                    <a:pt x="840" y="32"/>
                  </a:cubicBezTo>
                  <a:cubicBezTo>
                    <a:pt x="864" y="38"/>
                    <a:pt x="888" y="43"/>
                    <a:pt x="911" y="52"/>
                  </a:cubicBezTo>
                  <a:cubicBezTo>
                    <a:pt x="949" y="65"/>
                    <a:pt x="988" y="77"/>
                    <a:pt x="1026" y="92"/>
                  </a:cubicBezTo>
                  <a:cubicBezTo>
                    <a:pt x="1041" y="98"/>
                    <a:pt x="1056" y="103"/>
                    <a:pt x="1070" y="109"/>
                  </a:cubicBezTo>
                  <a:cubicBezTo>
                    <a:pt x="1096" y="122"/>
                    <a:pt x="1123" y="132"/>
                    <a:pt x="1149" y="144"/>
                  </a:cubicBezTo>
                  <a:cubicBezTo>
                    <a:pt x="1163" y="151"/>
                    <a:pt x="1177" y="157"/>
                    <a:pt x="1191" y="164"/>
                  </a:cubicBezTo>
                  <a:cubicBezTo>
                    <a:pt x="1218" y="177"/>
                    <a:pt x="1245" y="191"/>
                    <a:pt x="1272" y="205"/>
                  </a:cubicBezTo>
                  <a:cubicBezTo>
                    <a:pt x="1286" y="212"/>
                    <a:pt x="1300" y="218"/>
                    <a:pt x="1313" y="225"/>
                  </a:cubicBezTo>
                  <a:cubicBezTo>
                    <a:pt x="1341" y="243"/>
                    <a:pt x="1371" y="256"/>
                    <a:pt x="1399" y="273"/>
                  </a:cubicBezTo>
                  <a:cubicBezTo>
                    <a:pt x="1420" y="286"/>
                    <a:pt x="1441" y="298"/>
                    <a:pt x="1462" y="310"/>
                  </a:cubicBezTo>
                  <a:cubicBezTo>
                    <a:pt x="1480" y="320"/>
                    <a:pt x="1498" y="330"/>
                    <a:pt x="1515" y="341"/>
                  </a:cubicBezTo>
                  <a:cubicBezTo>
                    <a:pt x="1539" y="355"/>
                    <a:pt x="1562" y="371"/>
                    <a:pt x="1587" y="384"/>
                  </a:cubicBezTo>
                  <a:cubicBezTo>
                    <a:pt x="1603" y="394"/>
                    <a:pt x="1617" y="405"/>
                    <a:pt x="1633" y="414"/>
                  </a:cubicBezTo>
                  <a:cubicBezTo>
                    <a:pt x="1656" y="429"/>
                    <a:pt x="1680" y="442"/>
                    <a:pt x="1703" y="457"/>
                  </a:cubicBezTo>
                  <a:cubicBezTo>
                    <a:pt x="1725" y="471"/>
                    <a:pt x="1747" y="485"/>
                    <a:pt x="1770" y="498"/>
                  </a:cubicBezTo>
                  <a:cubicBezTo>
                    <a:pt x="1780" y="504"/>
                    <a:pt x="1790" y="508"/>
                    <a:pt x="1799" y="514"/>
                  </a:cubicBezTo>
                  <a:cubicBezTo>
                    <a:pt x="1829" y="535"/>
                    <a:pt x="1863" y="550"/>
                    <a:pt x="1894" y="569"/>
                  </a:cubicBezTo>
                  <a:cubicBezTo>
                    <a:pt x="1931" y="590"/>
                    <a:pt x="1969" y="608"/>
                    <a:pt x="2007" y="628"/>
                  </a:cubicBezTo>
                  <a:cubicBezTo>
                    <a:pt x="2033" y="642"/>
                    <a:pt x="2060" y="655"/>
                    <a:pt x="2087" y="668"/>
                  </a:cubicBezTo>
                  <a:cubicBezTo>
                    <a:pt x="2102" y="675"/>
                    <a:pt x="2118" y="681"/>
                    <a:pt x="2132" y="689"/>
                  </a:cubicBezTo>
                  <a:cubicBezTo>
                    <a:pt x="2157" y="702"/>
                    <a:pt x="2183" y="712"/>
                    <a:pt x="2208" y="724"/>
                  </a:cubicBezTo>
                  <a:cubicBezTo>
                    <a:pt x="2229" y="733"/>
                    <a:pt x="2250" y="740"/>
                    <a:pt x="2270" y="750"/>
                  </a:cubicBezTo>
                  <a:cubicBezTo>
                    <a:pt x="2292" y="760"/>
                    <a:pt x="2314" y="768"/>
                    <a:pt x="2336" y="777"/>
                  </a:cubicBezTo>
                  <a:cubicBezTo>
                    <a:pt x="2362" y="787"/>
                    <a:pt x="2389" y="795"/>
                    <a:pt x="2414" y="806"/>
                  </a:cubicBezTo>
                  <a:cubicBezTo>
                    <a:pt x="2450" y="821"/>
                    <a:pt x="2486" y="832"/>
                    <a:pt x="2523" y="843"/>
                  </a:cubicBezTo>
                  <a:cubicBezTo>
                    <a:pt x="2548" y="851"/>
                    <a:pt x="2574" y="858"/>
                    <a:pt x="2599" y="866"/>
                  </a:cubicBezTo>
                  <a:cubicBezTo>
                    <a:pt x="2637" y="878"/>
                    <a:pt x="2675" y="886"/>
                    <a:pt x="2713" y="894"/>
                  </a:cubicBezTo>
                  <a:cubicBezTo>
                    <a:pt x="2744" y="901"/>
                    <a:pt x="2774" y="906"/>
                    <a:pt x="2805" y="910"/>
                  </a:cubicBezTo>
                  <a:cubicBezTo>
                    <a:pt x="2807" y="910"/>
                    <a:pt x="2810" y="910"/>
                    <a:pt x="2812" y="910"/>
                  </a:cubicBezTo>
                  <a:cubicBezTo>
                    <a:pt x="2812" y="1139"/>
                    <a:pt x="2812" y="1368"/>
                    <a:pt x="2812" y="1597"/>
                  </a:cubicBezTo>
                  <a:cubicBezTo>
                    <a:pt x="2809" y="1596"/>
                    <a:pt x="2805" y="1597"/>
                    <a:pt x="2802" y="1597"/>
                  </a:cubicBezTo>
                  <a:cubicBezTo>
                    <a:pt x="2167" y="1597"/>
                    <a:pt x="1531" y="1597"/>
                    <a:pt x="896" y="1597"/>
                  </a:cubicBezTo>
                  <a:cubicBezTo>
                    <a:pt x="662" y="1597"/>
                    <a:pt x="428" y="1597"/>
                    <a:pt x="194" y="1597"/>
                  </a:cubicBezTo>
                  <a:cubicBezTo>
                    <a:pt x="192" y="1597"/>
                    <a:pt x="189" y="1597"/>
                    <a:pt x="186" y="1596"/>
                  </a:cubicBezTo>
                  <a:cubicBezTo>
                    <a:pt x="198" y="1586"/>
                    <a:pt x="208" y="1577"/>
                    <a:pt x="219" y="1567"/>
                  </a:cubicBezTo>
                  <a:cubicBezTo>
                    <a:pt x="250" y="1539"/>
                    <a:pt x="269" y="1502"/>
                    <a:pt x="285" y="1465"/>
                  </a:cubicBezTo>
                  <a:cubicBezTo>
                    <a:pt x="298" y="1432"/>
                    <a:pt x="304" y="1398"/>
                    <a:pt x="308" y="1363"/>
                  </a:cubicBezTo>
                  <a:cubicBezTo>
                    <a:pt x="313" y="1310"/>
                    <a:pt x="311" y="1258"/>
                    <a:pt x="305" y="1206"/>
                  </a:cubicBezTo>
                  <a:cubicBezTo>
                    <a:pt x="299" y="1159"/>
                    <a:pt x="291" y="1112"/>
                    <a:pt x="278" y="1067"/>
                  </a:cubicBezTo>
                  <a:cubicBezTo>
                    <a:pt x="269" y="1037"/>
                    <a:pt x="263" y="1006"/>
                    <a:pt x="253" y="977"/>
                  </a:cubicBezTo>
                  <a:cubicBezTo>
                    <a:pt x="242" y="942"/>
                    <a:pt x="232" y="906"/>
                    <a:pt x="217" y="872"/>
                  </a:cubicBezTo>
                  <a:cubicBezTo>
                    <a:pt x="208" y="849"/>
                    <a:pt x="200" y="825"/>
                    <a:pt x="191" y="802"/>
                  </a:cubicBezTo>
                  <a:cubicBezTo>
                    <a:pt x="178" y="772"/>
                    <a:pt x="167" y="742"/>
                    <a:pt x="153" y="713"/>
                  </a:cubicBezTo>
                  <a:cubicBezTo>
                    <a:pt x="136" y="677"/>
                    <a:pt x="120" y="641"/>
                    <a:pt x="104" y="605"/>
                  </a:cubicBezTo>
                  <a:cubicBezTo>
                    <a:pt x="100" y="597"/>
                    <a:pt x="95" y="589"/>
                    <a:pt x="91" y="581"/>
                  </a:cubicBezTo>
                  <a:cubicBezTo>
                    <a:pt x="81" y="558"/>
                    <a:pt x="69" y="536"/>
                    <a:pt x="58" y="514"/>
                  </a:cubicBezTo>
                  <a:cubicBezTo>
                    <a:pt x="41" y="479"/>
                    <a:pt x="21" y="445"/>
                    <a:pt x="3" y="411"/>
                  </a:cubicBezTo>
                  <a:cubicBezTo>
                    <a:pt x="2" y="409"/>
                    <a:pt x="2" y="407"/>
                    <a:pt x="0" y="407"/>
                  </a:cubicBezTo>
                  <a:cubicBezTo>
                    <a:pt x="0" y="406"/>
                    <a:pt x="0" y="405"/>
                    <a:pt x="0" y="40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87047" name="Freeform 7"/>
            <p:cNvSpPr/>
            <p:nvPr userDrawn="1"/>
          </p:nvSpPr>
          <p:spPr bwMode="auto">
            <a:xfrm>
              <a:off x="10192376" y="14514"/>
              <a:ext cx="1798279" cy="2984354"/>
            </a:xfrm>
            <a:custGeom>
              <a:avLst/>
              <a:gdLst/>
              <a:ahLst/>
              <a:cxnLst>
                <a:cxn ang="0">
                  <a:pos x="819" y="1361"/>
                </a:cxn>
                <a:cxn ang="0">
                  <a:pos x="799" y="1335"/>
                </a:cxn>
                <a:cxn ang="0">
                  <a:pos x="765" y="1294"/>
                </a:cxn>
                <a:cxn ang="0">
                  <a:pos x="730" y="1249"/>
                </a:cxn>
                <a:cxn ang="0">
                  <a:pos x="666" y="1172"/>
                </a:cxn>
                <a:cxn ang="0">
                  <a:pos x="618" y="1113"/>
                </a:cxn>
                <a:cxn ang="0">
                  <a:pos x="571" y="1054"/>
                </a:cxn>
                <a:cxn ang="0">
                  <a:pos x="545" y="1019"/>
                </a:cxn>
                <a:cxn ang="0">
                  <a:pos x="485" y="940"/>
                </a:cxn>
                <a:cxn ang="0">
                  <a:pos x="442" y="881"/>
                </a:cxn>
                <a:cxn ang="0">
                  <a:pos x="420" y="849"/>
                </a:cxn>
                <a:cxn ang="0">
                  <a:pos x="363" y="765"/>
                </a:cxn>
                <a:cxn ang="0">
                  <a:pos x="323" y="705"/>
                </a:cxn>
                <a:cxn ang="0">
                  <a:pos x="294" y="658"/>
                </a:cxn>
                <a:cxn ang="0">
                  <a:pos x="254" y="591"/>
                </a:cxn>
                <a:cxn ang="0">
                  <a:pos x="231" y="550"/>
                </a:cxn>
                <a:cxn ang="0">
                  <a:pos x="189" y="475"/>
                </a:cxn>
                <a:cxn ang="0">
                  <a:pos x="168" y="433"/>
                </a:cxn>
                <a:cxn ang="0">
                  <a:pos x="134" y="364"/>
                </a:cxn>
                <a:cxn ang="0">
                  <a:pos x="104" y="299"/>
                </a:cxn>
                <a:cxn ang="0">
                  <a:pos x="57" y="181"/>
                </a:cxn>
                <a:cxn ang="0">
                  <a:pos x="40" y="135"/>
                </a:cxn>
                <a:cxn ang="0">
                  <a:pos x="1" y="5"/>
                </a:cxn>
                <a:cxn ang="0">
                  <a:pos x="0" y="0"/>
                </a:cxn>
                <a:cxn ang="0">
                  <a:pos x="812" y="0"/>
                </a:cxn>
                <a:cxn ang="0">
                  <a:pos x="819" y="6"/>
                </a:cxn>
                <a:cxn ang="0">
                  <a:pos x="819" y="1361"/>
                </a:cxn>
              </a:cxnLst>
              <a:rect l="0" t="0" r="r" b="b"/>
              <a:pathLst>
                <a:path w="819" h="1361">
                  <a:moveTo>
                    <a:pt x="819" y="1361"/>
                  </a:moveTo>
                  <a:cubicBezTo>
                    <a:pt x="812" y="1353"/>
                    <a:pt x="806" y="1344"/>
                    <a:pt x="799" y="1335"/>
                  </a:cubicBezTo>
                  <a:cubicBezTo>
                    <a:pt x="788" y="1321"/>
                    <a:pt x="776" y="1308"/>
                    <a:pt x="765" y="1294"/>
                  </a:cubicBezTo>
                  <a:cubicBezTo>
                    <a:pt x="754" y="1279"/>
                    <a:pt x="743" y="1263"/>
                    <a:pt x="730" y="1249"/>
                  </a:cubicBezTo>
                  <a:cubicBezTo>
                    <a:pt x="707" y="1224"/>
                    <a:pt x="688" y="1197"/>
                    <a:pt x="666" y="1172"/>
                  </a:cubicBezTo>
                  <a:cubicBezTo>
                    <a:pt x="650" y="1153"/>
                    <a:pt x="633" y="1133"/>
                    <a:pt x="618" y="1113"/>
                  </a:cubicBezTo>
                  <a:cubicBezTo>
                    <a:pt x="603" y="1093"/>
                    <a:pt x="585" y="1075"/>
                    <a:pt x="571" y="1054"/>
                  </a:cubicBezTo>
                  <a:cubicBezTo>
                    <a:pt x="563" y="1042"/>
                    <a:pt x="554" y="1030"/>
                    <a:pt x="545" y="1019"/>
                  </a:cubicBezTo>
                  <a:cubicBezTo>
                    <a:pt x="523" y="994"/>
                    <a:pt x="505" y="966"/>
                    <a:pt x="485" y="940"/>
                  </a:cubicBezTo>
                  <a:cubicBezTo>
                    <a:pt x="470" y="920"/>
                    <a:pt x="456" y="901"/>
                    <a:pt x="442" y="881"/>
                  </a:cubicBezTo>
                  <a:cubicBezTo>
                    <a:pt x="434" y="870"/>
                    <a:pt x="428" y="859"/>
                    <a:pt x="420" y="849"/>
                  </a:cubicBezTo>
                  <a:cubicBezTo>
                    <a:pt x="399" y="822"/>
                    <a:pt x="382" y="793"/>
                    <a:pt x="363" y="765"/>
                  </a:cubicBezTo>
                  <a:cubicBezTo>
                    <a:pt x="349" y="745"/>
                    <a:pt x="336" y="725"/>
                    <a:pt x="323" y="705"/>
                  </a:cubicBezTo>
                  <a:cubicBezTo>
                    <a:pt x="313" y="690"/>
                    <a:pt x="304" y="674"/>
                    <a:pt x="294" y="658"/>
                  </a:cubicBezTo>
                  <a:cubicBezTo>
                    <a:pt x="280" y="636"/>
                    <a:pt x="267" y="614"/>
                    <a:pt x="254" y="591"/>
                  </a:cubicBezTo>
                  <a:cubicBezTo>
                    <a:pt x="246" y="577"/>
                    <a:pt x="239" y="563"/>
                    <a:pt x="231" y="550"/>
                  </a:cubicBezTo>
                  <a:cubicBezTo>
                    <a:pt x="215" y="526"/>
                    <a:pt x="203" y="500"/>
                    <a:pt x="189" y="475"/>
                  </a:cubicBezTo>
                  <a:cubicBezTo>
                    <a:pt x="182" y="461"/>
                    <a:pt x="176" y="446"/>
                    <a:pt x="168" y="433"/>
                  </a:cubicBezTo>
                  <a:cubicBezTo>
                    <a:pt x="155" y="411"/>
                    <a:pt x="145" y="387"/>
                    <a:pt x="134" y="364"/>
                  </a:cubicBezTo>
                  <a:cubicBezTo>
                    <a:pt x="123" y="343"/>
                    <a:pt x="115" y="321"/>
                    <a:pt x="104" y="299"/>
                  </a:cubicBezTo>
                  <a:cubicBezTo>
                    <a:pt x="86" y="261"/>
                    <a:pt x="72" y="221"/>
                    <a:pt x="57" y="181"/>
                  </a:cubicBezTo>
                  <a:cubicBezTo>
                    <a:pt x="51" y="165"/>
                    <a:pt x="47" y="150"/>
                    <a:pt x="40" y="135"/>
                  </a:cubicBezTo>
                  <a:cubicBezTo>
                    <a:pt x="23" y="93"/>
                    <a:pt x="13" y="49"/>
                    <a:pt x="1" y="5"/>
                  </a:cubicBezTo>
                  <a:cubicBezTo>
                    <a:pt x="0" y="4"/>
                    <a:pt x="0" y="2"/>
                    <a:pt x="0" y="0"/>
                  </a:cubicBezTo>
                  <a:cubicBezTo>
                    <a:pt x="271" y="0"/>
                    <a:pt x="542" y="0"/>
                    <a:pt x="812" y="0"/>
                  </a:cubicBezTo>
                  <a:cubicBezTo>
                    <a:pt x="818" y="0"/>
                    <a:pt x="819" y="1"/>
                    <a:pt x="819" y="6"/>
                  </a:cubicBezTo>
                  <a:cubicBezTo>
                    <a:pt x="819" y="458"/>
                    <a:pt x="819" y="909"/>
                    <a:pt x="819" y="1361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grpSp>
        <p:nvGrpSpPr>
          <p:cNvPr id="15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6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12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6"/>
          <p:cNvSpPr/>
          <p:nvPr userDrawn="1"/>
        </p:nvSpPr>
        <p:spPr bwMode="auto">
          <a:xfrm>
            <a:off x="-1" y="0"/>
            <a:ext cx="5557037" cy="6499225"/>
          </a:xfrm>
          <a:custGeom>
            <a:avLst/>
            <a:gdLst>
              <a:gd name="connsiteX0" fmla="*/ 9977 w 10000"/>
              <a:gd name="connsiteY0" fmla="*/ 377 h 10000"/>
              <a:gd name="connsiteX1" fmla="*/ 9977 w 10000"/>
              <a:gd name="connsiteY1" fmla="*/ 357 h 10000"/>
              <a:gd name="connsiteX2" fmla="*/ 9989 w 10000"/>
              <a:gd name="connsiteY2" fmla="*/ 338 h 10000"/>
              <a:gd name="connsiteX3" fmla="*/ 9989 w 10000"/>
              <a:gd name="connsiteY3" fmla="*/ 88 h 10000"/>
              <a:gd name="connsiteX4" fmla="*/ 9971 w 10000"/>
              <a:gd name="connsiteY4" fmla="*/ 64 h 10000"/>
              <a:gd name="connsiteX5" fmla="*/ 9971 w 10000"/>
              <a:gd name="connsiteY5" fmla="*/ 20 h 10000"/>
              <a:gd name="connsiteX6" fmla="*/ 9989 w 10000"/>
              <a:gd name="connsiteY6" fmla="*/ 0 h 10000"/>
              <a:gd name="connsiteX7" fmla="*/ 51 w 10000"/>
              <a:gd name="connsiteY7" fmla="*/ 0 h 10000"/>
              <a:gd name="connsiteX8" fmla="*/ 0 w 10000"/>
              <a:gd name="connsiteY8" fmla="*/ 44 h 10000"/>
              <a:gd name="connsiteX9" fmla="*/ 0 w 10000"/>
              <a:gd name="connsiteY9" fmla="*/ 8865 h 10000"/>
              <a:gd name="connsiteX10" fmla="*/ 46 w 10000"/>
              <a:gd name="connsiteY10" fmla="*/ 8865 h 10000"/>
              <a:gd name="connsiteX11" fmla="*/ 91 w 10000"/>
              <a:gd name="connsiteY11" fmla="*/ 8894 h 10000"/>
              <a:gd name="connsiteX12" fmla="*/ 1041 w 10000"/>
              <a:gd name="connsiteY12" fmla="*/ 9437 h 10000"/>
              <a:gd name="connsiteX13" fmla="*/ 2802 w 10000"/>
              <a:gd name="connsiteY13" fmla="*/ 9961 h 10000"/>
              <a:gd name="connsiteX14" fmla="*/ 3985 w 10000"/>
              <a:gd name="connsiteY14" fmla="*/ 9878 h 10000"/>
              <a:gd name="connsiteX15" fmla="*/ 5397 w 10000"/>
              <a:gd name="connsiteY15" fmla="*/ 9090 h 10000"/>
              <a:gd name="connsiteX16" fmla="*/ 5409 w 10000"/>
              <a:gd name="connsiteY16" fmla="*/ 9036 h 10000"/>
              <a:gd name="connsiteX17" fmla="*/ 5363 w 10000"/>
              <a:gd name="connsiteY17" fmla="*/ 8552 h 10000"/>
              <a:gd name="connsiteX18" fmla="*/ 5672 w 10000"/>
              <a:gd name="connsiteY18" fmla="*/ 7681 h 10000"/>
              <a:gd name="connsiteX19" fmla="*/ 6467 w 10000"/>
              <a:gd name="connsiteY19" fmla="*/ 6463 h 10000"/>
              <a:gd name="connsiteX20" fmla="*/ 8067 w 10000"/>
              <a:gd name="connsiteY20" fmla="*/ 4364 h 10000"/>
              <a:gd name="connsiteX21" fmla="*/ 9251 w 10000"/>
              <a:gd name="connsiteY21" fmla="*/ 2578 h 10000"/>
              <a:gd name="connsiteX22" fmla="*/ 9851 w 10000"/>
              <a:gd name="connsiteY22" fmla="*/ 1150 h 10000"/>
              <a:gd name="connsiteX23" fmla="*/ 9943 w 10000"/>
              <a:gd name="connsiteY23" fmla="*/ 714 h 10000"/>
              <a:gd name="connsiteX24" fmla="*/ 9960 w 10000"/>
              <a:gd name="connsiteY24" fmla="*/ 563 h 10000"/>
              <a:gd name="connsiteX25" fmla="*/ 9971 w 10000"/>
              <a:gd name="connsiteY25" fmla="*/ 411 h 10000"/>
              <a:gd name="connsiteX26" fmla="*/ 9977 w 10000"/>
              <a:gd name="connsiteY26" fmla="*/ 377 h 10000"/>
              <a:gd name="connsiteX0-1" fmla="*/ 9977 w 10000"/>
              <a:gd name="connsiteY0-2" fmla="*/ 377 h 10000"/>
              <a:gd name="connsiteX1-3" fmla="*/ 9977 w 10000"/>
              <a:gd name="connsiteY1-4" fmla="*/ 357 h 10000"/>
              <a:gd name="connsiteX2-5" fmla="*/ 9989 w 10000"/>
              <a:gd name="connsiteY2-6" fmla="*/ 88 h 10000"/>
              <a:gd name="connsiteX3-7" fmla="*/ 9971 w 10000"/>
              <a:gd name="connsiteY3-8" fmla="*/ 64 h 10000"/>
              <a:gd name="connsiteX4-9" fmla="*/ 9971 w 10000"/>
              <a:gd name="connsiteY4-10" fmla="*/ 20 h 10000"/>
              <a:gd name="connsiteX5-11" fmla="*/ 9989 w 10000"/>
              <a:gd name="connsiteY5-12" fmla="*/ 0 h 10000"/>
              <a:gd name="connsiteX6-13" fmla="*/ 51 w 10000"/>
              <a:gd name="connsiteY6-14" fmla="*/ 0 h 10000"/>
              <a:gd name="connsiteX7-15" fmla="*/ 0 w 10000"/>
              <a:gd name="connsiteY7-16" fmla="*/ 44 h 10000"/>
              <a:gd name="connsiteX8-17" fmla="*/ 0 w 10000"/>
              <a:gd name="connsiteY8-18" fmla="*/ 8865 h 10000"/>
              <a:gd name="connsiteX9-19" fmla="*/ 46 w 10000"/>
              <a:gd name="connsiteY9-20" fmla="*/ 8865 h 10000"/>
              <a:gd name="connsiteX10-21" fmla="*/ 91 w 10000"/>
              <a:gd name="connsiteY10-22" fmla="*/ 8894 h 10000"/>
              <a:gd name="connsiteX11-23" fmla="*/ 1041 w 10000"/>
              <a:gd name="connsiteY11-24" fmla="*/ 9437 h 10000"/>
              <a:gd name="connsiteX12-25" fmla="*/ 2802 w 10000"/>
              <a:gd name="connsiteY12-26" fmla="*/ 9961 h 10000"/>
              <a:gd name="connsiteX13-27" fmla="*/ 3985 w 10000"/>
              <a:gd name="connsiteY13-28" fmla="*/ 9878 h 10000"/>
              <a:gd name="connsiteX14-29" fmla="*/ 5397 w 10000"/>
              <a:gd name="connsiteY14-30" fmla="*/ 9090 h 10000"/>
              <a:gd name="connsiteX15-31" fmla="*/ 5409 w 10000"/>
              <a:gd name="connsiteY15-32" fmla="*/ 9036 h 10000"/>
              <a:gd name="connsiteX16-33" fmla="*/ 5363 w 10000"/>
              <a:gd name="connsiteY16-34" fmla="*/ 8552 h 10000"/>
              <a:gd name="connsiteX17-35" fmla="*/ 5672 w 10000"/>
              <a:gd name="connsiteY17-36" fmla="*/ 7681 h 10000"/>
              <a:gd name="connsiteX18-37" fmla="*/ 6467 w 10000"/>
              <a:gd name="connsiteY18-38" fmla="*/ 6463 h 10000"/>
              <a:gd name="connsiteX19-39" fmla="*/ 8067 w 10000"/>
              <a:gd name="connsiteY19-40" fmla="*/ 4364 h 10000"/>
              <a:gd name="connsiteX20-41" fmla="*/ 9251 w 10000"/>
              <a:gd name="connsiteY20-42" fmla="*/ 2578 h 10000"/>
              <a:gd name="connsiteX21-43" fmla="*/ 9851 w 10000"/>
              <a:gd name="connsiteY21-44" fmla="*/ 1150 h 10000"/>
              <a:gd name="connsiteX22-45" fmla="*/ 9943 w 10000"/>
              <a:gd name="connsiteY22-46" fmla="*/ 714 h 10000"/>
              <a:gd name="connsiteX23-47" fmla="*/ 9960 w 10000"/>
              <a:gd name="connsiteY23-48" fmla="*/ 563 h 10000"/>
              <a:gd name="connsiteX24-49" fmla="*/ 9971 w 10000"/>
              <a:gd name="connsiteY24-50" fmla="*/ 411 h 10000"/>
              <a:gd name="connsiteX25-51" fmla="*/ 9977 w 10000"/>
              <a:gd name="connsiteY25-52" fmla="*/ 377 h 10000"/>
              <a:gd name="connsiteX0-53" fmla="*/ 9977 w 10000"/>
              <a:gd name="connsiteY0-54" fmla="*/ 377 h 10000"/>
              <a:gd name="connsiteX1-55" fmla="*/ 9977 w 10000"/>
              <a:gd name="connsiteY1-56" fmla="*/ 357 h 10000"/>
              <a:gd name="connsiteX2-57" fmla="*/ 9989 w 10000"/>
              <a:gd name="connsiteY2-58" fmla="*/ 88 h 10000"/>
              <a:gd name="connsiteX3-59" fmla="*/ 9971 w 10000"/>
              <a:gd name="connsiteY3-60" fmla="*/ 20 h 10000"/>
              <a:gd name="connsiteX4-61" fmla="*/ 9989 w 10000"/>
              <a:gd name="connsiteY4-62" fmla="*/ 0 h 10000"/>
              <a:gd name="connsiteX5-63" fmla="*/ 51 w 10000"/>
              <a:gd name="connsiteY5-64" fmla="*/ 0 h 10000"/>
              <a:gd name="connsiteX6-65" fmla="*/ 0 w 10000"/>
              <a:gd name="connsiteY6-66" fmla="*/ 44 h 10000"/>
              <a:gd name="connsiteX7-67" fmla="*/ 0 w 10000"/>
              <a:gd name="connsiteY7-68" fmla="*/ 8865 h 10000"/>
              <a:gd name="connsiteX8-69" fmla="*/ 46 w 10000"/>
              <a:gd name="connsiteY8-70" fmla="*/ 8865 h 10000"/>
              <a:gd name="connsiteX9-71" fmla="*/ 91 w 10000"/>
              <a:gd name="connsiteY9-72" fmla="*/ 8894 h 10000"/>
              <a:gd name="connsiteX10-73" fmla="*/ 1041 w 10000"/>
              <a:gd name="connsiteY10-74" fmla="*/ 9437 h 10000"/>
              <a:gd name="connsiteX11-75" fmla="*/ 2802 w 10000"/>
              <a:gd name="connsiteY11-76" fmla="*/ 9961 h 10000"/>
              <a:gd name="connsiteX12-77" fmla="*/ 3985 w 10000"/>
              <a:gd name="connsiteY12-78" fmla="*/ 9878 h 10000"/>
              <a:gd name="connsiteX13-79" fmla="*/ 5397 w 10000"/>
              <a:gd name="connsiteY13-80" fmla="*/ 9090 h 10000"/>
              <a:gd name="connsiteX14-81" fmla="*/ 5409 w 10000"/>
              <a:gd name="connsiteY14-82" fmla="*/ 9036 h 10000"/>
              <a:gd name="connsiteX15-83" fmla="*/ 5363 w 10000"/>
              <a:gd name="connsiteY15-84" fmla="*/ 8552 h 10000"/>
              <a:gd name="connsiteX16-85" fmla="*/ 5672 w 10000"/>
              <a:gd name="connsiteY16-86" fmla="*/ 7681 h 10000"/>
              <a:gd name="connsiteX17-87" fmla="*/ 6467 w 10000"/>
              <a:gd name="connsiteY17-88" fmla="*/ 6463 h 10000"/>
              <a:gd name="connsiteX18-89" fmla="*/ 8067 w 10000"/>
              <a:gd name="connsiteY18-90" fmla="*/ 4364 h 10000"/>
              <a:gd name="connsiteX19-91" fmla="*/ 9251 w 10000"/>
              <a:gd name="connsiteY19-92" fmla="*/ 2578 h 10000"/>
              <a:gd name="connsiteX20-93" fmla="*/ 9851 w 10000"/>
              <a:gd name="connsiteY20-94" fmla="*/ 1150 h 10000"/>
              <a:gd name="connsiteX21-95" fmla="*/ 9943 w 10000"/>
              <a:gd name="connsiteY21-96" fmla="*/ 714 h 10000"/>
              <a:gd name="connsiteX22-97" fmla="*/ 9960 w 10000"/>
              <a:gd name="connsiteY22-98" fmla="*/ 563 h 10000"/>
              <a:gd name="connsiteX23-99" fmla="*/ 9971 w 10000"/>
              <a:gd name="connsiteY23-100" fmla="*/ 411 h 10000"/>
              <a:gd name="connsiteX24-101" fmla="*/ 9977 w 10000"/>
              <a:gd name="connsiteY24-102" fmla="*/ 377 h 10000"/>
              <a:gd name="connsiteX0-103" fmla="*/ 9977 w 10000"/>
              <a:gd name="connsiteY0-104" fmla="*/ 377 h 10000"/>
              <a:gd name="connsiteX1-105" fmla="*/ 9977 w 10000"/>
              <a:gd name="connsiteY1-106" fmla="*/ 357 h 10000"/>
              <a:gd name="connsiteX2-107" fmla="*/ 9989 w 10000"/>
              <a:gd name="connsiteY2-108" fmla="*/ 88 h 10000"/>
              <a:gd name="connsiteX3-109" fmla="*/ 9971 w 10000"/>
              <a:gd name="connsiteY3-110" fmla="*/ 20 h 10000"/>
              <a:gd name="connsiteX4-111" fmla="*/ 51 w 10000"/>
              <a:gd name="connsiteY4-112" fmla="*/ 0 h 10000"/>
              <a:gd name="connsiteX5-113" fmla="*/ 0 w 10000"/>
              <a:gd name="connsiteY5-114" fmla="*/ 44 h 10000"/>
              <a:gd name="connsiteX6-115" fmla="*/ 0 w 10000"/>
              <a:gd name="connsiteY6-116" fmla="*/ 8865 h 10000"/>
              <a:gd name="connsiteX7-117" fmla="*/ 46 w 10000"/>
              <a:gd name="connsiteY7-118" fmla="*/ 8865 h 10000"/>
              <a:gd name="connsiteX8-119" fmla="*/ 91 w 10000"/>
              <a:gd name="connsiteY8-120" fmla="*/ 8894 h 10000"/>
              <a:gd name="connsiteX9-121" fmla="*/ 1041 w 10000"/>
              <a:gd name="connsiteY9-122" fmla="*/ 9437 h 10000"/>
              <a:gd name="connsiteX10-123" fmla="*/ 2802 w 10000"/>
              <a:gd name="connsiteY10-124" fmla="*/ 9961 h 10000"/>
              <a:gd name="connsiteX11-125" fmla="*/ 3985 w 10000"/>
              <a:gd name="connsiteY11-126" fmla="*/ 9878 h 10000"/>
              <a:gd name="connsiteX12-127" fmla="*/ 5397 w 10000"/>
              <a:gd name="connsiteY12-128" fmla="*/ 9090 h 10000"/>
              <a:gd name="connsiteX13-129" fmla="*/ 5409 w 10000"/>
              <a:gd name="connsiteY13-130" fmla="*/ 9036 h 10000"/>
              <a:gd name="connsiteX14-131" fmla="*/ 5363 w 10000"/>
              <a:gd name="connsiteY14-132" fmla="*/ 8552 h 10000"/>
              <a:gd name="connsiteX15-133" fmla="*/ 5672 w 10000"/>
              <a:gd name="connsiteY15-134" fmla="*/ 7681 h 10000"/>
              <a:gd name="connsiteX16-135" fmla="*/ 6467 w 10000"/>
              <a:gd name="connsiteY16-136" fmla="*/ 6463 h 10000"/>
              <a:gd name="connsiteX17-137" fmla="*/ 8067 w 10000"/>
              <a:gd name="connsiteY17-138" fmla="*/ 4364 h 10000"/>
              <a:gd name="connsiteX18-139" fmla="*/ 9251 w 10000"/>
              <a:gd name="connsiteY18-140" fmla="*/ 2578 h 10000"/>
              <a:gd name="connsiteX19-141" fmla="*/ 9851 w 10000"/>
              <a:gd name="connsiteY19-142" fmla="*/ 1150 h 10000"/>
              <a:gd name="connsiteX20-143" fmla="*/ 9943 w 10000"/>
              <a:gd name="connsiteY20-144" fmla="*/ 714 h 10000"/>
              <a:gd name="connsiteX21-145" fmla="*/ 9960 w 10000"/>
              <a:gd name="connsiteY21-146" fmla="*/ 563 h 10000"/>
              <a:gd name="connsiteX22-147" fmla="*/ 9971 w 10000"/>
              <a:gd name="connsiteY22-148" fmla="*/ 411 h 10000"/>
              <a:gd name="connsiteX23-149" fmla="*/ 9977 w 10000"/>
              <a:gd name="connsiteY23-150" fmla="*/ 377 h 10000"/>
              <a:gd name="connsiteX0-151" fmla="*/ 9977 w 10000"/>
              <a:gd name="connsiteY0-152" fmla="*/ 377 h 10000"/>
              <a:gd name="connsiteX1-153" fmla="*/ 9977 w 10000"/>
              <a:gd name="connsiteY1-154" fmla="*/ 357 h 10000"/>
              <a:gd name="connsiteX2-155" fmla="*/ 9989 w 10000"/>
              <a:gd name="connsiteY2-156" fmla="*/ 88 h 10000"/>
              <a:gd name="connsiteX3-157" fmla="*/ 9977 w 10000"/>
              <a:gd name="connsiteY3-158" fmla="*/ 0 h 10000"/>
              <a:gd name="connsiteX4-159" fmla="*/ 51 w 10000"/>
              <a:gd name="connsiteY4-160" fmla="*/ 0 h 10000"/>
              <a:gd name="connsiteX5-161" fmla="*/ 0 w 10000"/>
              <a:gd name="connsiteY5-162" fmla="*/ 44 h 10000"/>
              <a:gd name="connsiteX6-163" fmla="*/ 0 w 10000"/>
              <a:gd name="connsiteY6-164" fmla="*/ 8865 h 10000"/>
              <a:gd name="connsiteX7-165" fmla="*/ 46 w 10000"/>
              <a:gd name="connsiteY7-166" fmla="*/ 8865 h 10000"/>
              <a:gd name="connsiteX8-167" fmla="*/ 91 w 10000"/>
              <a:gd name="connsiteY8-168" fmla="*/ 8894 h 10000"/>
              <a:gd name="connsiteX9-169" fmla="*/ 1041 w 10000"/>
              <a:gd name="connsiteY9-170" fmla="*/ 9437 h 10000"/>
              <a:gd name="connsiteX10-171" fmla="*/ 2802 w 10000"/>
              <a:gd name="connsiteY10-172" fmla="*/ 9961 h 10000"/>
              <a:gd name="connsiteX11-173" fmla="*/ 3985 w 10000"/>
              <a:gd name="connsiteY11-174" fmla="*/ 9878 h 10000"/>
              <a:gd name="connsiteX12-175" fmla="*/ 5397 w 10000"/>
              <a:gd name="connsiteY12-176" fmla="*/ 9090 h 10000"/>
              <a:gd name="connsiteX13-177" fmla="*/ 5409 w 10000"/>
              <a:gd name="connsiteY13-178" fmla="*/ 9036 h 10000"/>
              <a:gd name="connsiteX14-179" fmla="*/ 5363 w 10000"/>
              <a:gd name="connsiteY14-180" fmla="*/ 8552 h 10000"/>
              <a:gd name="connsiteX15-181" fmla="*/ 5672 w 10000"/>
              <a:gd name="connsiteY15-182" fmla="*/ 7681 h 10000"/>
              <a:gd name="connsiteX16-183" fmla="*/ 6467 w 10000"/>
              <a:gd name="connsiteY16-184" fmla="*/ 6463 h 10000"/>
              <a:gd name="connsiteX17-185" fmla="*/ 8067 w 10000"/>
              <a:gd name="connsiteY17-186" fmla="*/ 4364 h 10000"/>
              <a:gd name="connsiteX18-187" fmla="*/ 9251 w 10000"/>
              <a:gd name="connsiteY18-188" fmla="*/ 2578 h 10000"/>
              <a:gd name="connsiteX19-189" fmla="*/ 9851 w 10000"/>
              <a:gd name="connsiteY19-190" fmla="*/ 1150 h 10000"/>
              <a:gd name="connsiteX20-191" fmla="*/ 9943 w 10000"/>
              <a:gd name="connsiteY20-192" fmla="*/ 714 h 10000"/>
              <a:gd name="connsiteX21-193" fmla="*/ 9960 w 10000"/>
              <a:gd name="connsiteY21-194" fmla="*/ 563 h 10000"/>
              <a:gd name="connsiteX22-195" fmla="*/ 9971 w 10000"/>
              <a:gd name="connsiteY22-196" fmla="*/ 411 h 10000"/>
              <a:gd name="connsiteX23-197" fmla="*/ 9977 w 10000"/>
              <a:gd name="connsiteY23-198" fmla="*/ 377 h 10000"/>
              <a:gd name="connsiteX0-199" fmla="*/ 9971 w 9990"/>
              <a:gd name="connsiteY0-200" fmla="*/ 411 h 10000"/>
              <a:gd name="connsiteX1-201" fmla="*/ 9977 w 9990"/>
              <a:gd name="connsiteY1-202" fmla="*/ 357 h 10000"/>
              <a:gd name="connsiteX2-203" fmla="*/ 9989 w 9990"/>
              <a:gd name="connsiteY2-204" fmla="*/ 88 h 10000"/>
              <a:gd name="connsiteX3-205" fmla="*/ 9977 w 9990"/>
              <a:gd name="connsiteY3-206" fmla="*/ 0 h 10000"/>
              <a:gd name="connsiteX4-207" fmla="*/ 51 w 9990"/>
              <a:gd name="connsiteY4-208" fmla="*/ 0 h 10000"/>
              <a:gd name="connsiteX5-209" fmla="*/ 0 w 9990"/>
              <a:gd name="connsiteY5-210" fmla="*/ 44 h 10000"/>
              <a:gd name="connsiteX6-211" fmla="*/ 0 w 9990"/>
              <a:gd name="connsiteY6-212" fmla="*/ 8865 h 10000"/>
              <a:gd name="connsiteX7-213" fmla="*/ 46 w 9990"/>
              <a:gd name="connsiteY7-214" fmla="*/ 8865 h 10000"/>
              <a:gd name="connsiteX8-215" fmla="*/ 91 w 9990"/>
              <a:gd name="connsiteY8-216" fmla="*/ 8894 h 10000"/>
              <a:gd name="connsiteX9-217" fmla="*/ 1041 w 9990"/>
              <a:gd name="connsiteY9-218" fmla="*/ 9437 h 10000"/>
              <a:gd name="connsiteX10-219" fmla="*/ 2802 w 9990"/>
              <a:gd name="connsiteY10-220" fmla="*/ 9961 h 10000"/>
              <a:gd name="connsiteX11-221" fmla="*/ 3985 w 9990"/>
              <a:gd name="connsiteY11-222" fmla="*/ 9878 h 10000"/>
              <a:gd name="connsiteX12-223" fmla="*/ 5397 w 9990"/>
              <a:gd name="connsiteY12-224" fmla="*/ 9090 h 10000"/>
              <a:gd name="connsiteX13-225" fmla="*/ 5409 w 9990"/>
              <a:gd name="connsiteY13-226" fmla="*/ 9036 h 10000"/>
              <a:gd name="connsiteX14-227" fmla="*/ 5363 w 9990"/>
              <a:gd name="connsiteY14-228" fmla="*/ 8552 h 10000"/>
              <a:gd name="connsiteX15-229" fmla="*/ 5672 w 9990"/>
              <a:gd name="connsiteY15-230" fmla="*/ 7681 h 10000"/>
              <a:gd name="connsiteX16-231" fmla="*/ 6467 w 9990"/>
              <a:gd name="connsiteY16-232" fmla="*/ 6463 h 10000"/>
              <a:gd name="connsiteX17-233" fmla="*/ 8067 w 9990"/>
              <a:gd name="connsiteY17-234" fmla="*/ 4364 h 10000"/>
              <a:gd name="connsiteX18-235" fmla="*/ 9251 w 9990"/>
              <a:gd name="connsiteY18-236" fmla="*/ 2578 h 10000"/>
              <a:gd name="connsiteX19-237" fmla="*/ 9851 w 9990"/>
              <a:gd name="connsiteY19-238" fmla="*/ 1150 h 10000"/>
              <a:gd name="connsiteX20-239" fmla="*/ 9943 w 9990"/>
              <a:gd name="connsiteY20-240" fmla="*/ 714 h 10000"/>
              <a:gd name="connsiteX21-241" fmla="*/ 9960 w 9990"/>
              <a:gd name="connsiteY21-242" fmla="*/ 563 h 10000"/>
              <a:gd name="connsiteX22-243" fmla="*/ 9971 w 9990"/>
              <a:gd name="connsiteY22-244" fmla="*/ 411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  <a:cxn ang="0">
                <a:pos x="connsiteX16-33" y="connsiteY16-34"/>
              </a:cxn>
              <a:cxn ang="0">
                <a:pos x="connsiteX17-35" y="connsiteY17-36"/>
              </a:cxn>
              <a:cxn ang="0">
                <a:pos x="connsiteX18-37" y="connsiteY18-38"/>
              </a:cxn>
              <a:cxn ang="0">
                <a:pos x="connsiteX19-39" y="connsiteY19-40"/>
              </a:cxn>
              <a:cxn ang="0">
                <a:pos x="connsiteX20-41" y="connsiteY20-42"/>
              </a:cxn>
              <a:cxn ang="0">
                <a:pos x="connsiteX21-43" y="connsiteY21-44"/>
              </a:cxn>
              <a:cxn ang="0">
                <a:pos x="connsiteX22-45" y="connsiteY22-46"/>
              </a:cxn>
            </a:cxnLst>
            <a:rect l="l" t="t" r="r" b="b"/>
            <a:pathLst>
              <a:path w="9990" h="10000">
                <a:moveTo>
                  <a:pt x="9971" y="411"/>
                </a:moveTo>
                <a:cubicBezTo>
                  <a:pt x="9974" y="377"/>
                  <a:pt x="9974" y="411"/>
                  <a:pt x="9977" y="357"/>
                </a:cubicBezTo>
                <a:cubicBezTo>
                  <a:pt x="9979" y="309"/>
                  <a:pt x="9990" y="137"/>
                  <a:pt x="9989" y="88"/>
                </a:cubicBezTo>
                <a:cubicBezTo>
                  <a:pt x="9988" y="32"/>
                  <a:pt x="9977" y="15"/>
                  <a:pt x="9977" y="0"/>
                </a:cubicBezTo>
                <a:lnTo>
                  <a:pt x="51" y="0"/>
                </a:lnTo>
                <a:cubicBezTo>
                  <a:pt x="6" y="0"/>
                  <a:pt x="0" y="5"/>
                  <a:pt x="0" y="44"/>
                </a:cubicBezTo>
                <a:lnTo>
                  <a:pt x="0" y="8865"/>
                </a:lnTo>
                <a:lnTo>
                  <a:pt x="46" y="8865"/>
                </a:lnTo>
                <a:cubicBezTo>
                  <a:pt x="57" y="8875"/>
                  <a:pt x="74" y="8885"/>
                  <a:pt x="91" y="8894"/>
                </a:cubicBezTo>
                <a:cubicBezTo>
                  <a:pt x="395" y="9090"/>
                  <a:pt x="709" y="9276"/>
                  <a:pt x="1041" y="9437"/>
                </a:cubicBezTo>
                <a:cubicBezTo>
                  <a:pt x="1589" y="9702"/>
                  <a:pt x="2167" y="9902"/>
                  <a:pt x="2802" y="9961"/>
                </a:cubicBezTo>
                <a:cubicBezTo>
                  <a:pt x="3202" y="10000"/>
                  <a:pt x="3596" y="9976"/>
                  <a:pt x="3985" y="9878"/>
                </a:cubicBezTo>
                <a:cubicBezTo>
                  <a:pt x="4545" y="9731"/>
                  <a:pt x="4997" y="9447"/>
                  <a:pt x="5397" y="9090"/>
                </a:cubicBezTo>
                <a:cubicBezTo>
                  <a:pt x="5420" y="9075"/>
                  <a:pt x="5420" y="9061"/>
                  <a:pt x="5409" y="9036"/>
                </a:cubicBezTo>
                <a:cubicBezTo>
                  <a:pt x="5352" y="8880"/>
                  <a:pt x="5346" y="8713"/>
                  <a:pt x="5363" y="8552"/>
                </a:cubicBezTo>
                <a:cubicBezTo>
                  <a:pt x="5403" y="8244"/>
                  <a:pt x="5529" y="7960"/>
                  <a:pt x="5672" y="7681"/>
                </a:cubicBezTo>
                <a:cubicBezTo>
                  <a:pt x="5901" y="7255"/>
                  <a:pt x="6181" y="6859"/>
                  <a:pt x="6467" y="6463"/>
                </a:cubicBezTo>
                <a:cubicBezTo>
                  <a:pt x="6987" y="5758"/>
                  <a:pt x="7547" y="5068"/>
                  <a:pt x="8067" y="4364"/>
                </a:cubicBezTo>
                <a:cubicBezTo>
                  <a:pt x="8496" y="3787"/>
                  <a:pt x="8908" y="3200"/>
                  <a:pt x="9251" y="2578"/>
                </a:cubicBezTo>
                <a:cubicBezTo>
                  <a:pt x="9503" y="2118"/>
                  <a:pt x="9714" y="1649"/>
                  <a:pt x="9851" y="1150"/>
                </a:cubicBezTo>
                <a:cubicBezTo>
                  <a:pt x="9891" y="1008"/>
                  <a:pt x="9914" y="861"/>
                  <a:pt x="9943" y="714"/>
                </a:cubicBezTo>
                <a:cubicBezTo>
                  <a:pt x="9961" y="616"/>
                  <a:pt x="9955" y="613"/>
                  <a:pt x="9960" y="563"/>
                </a:cubicBezTo>
                <a:cubicBezTo>
                  <a:pt x="9966" y="514"/>
                  <a:pt x="9971" y="465"/>
                  <a:pt x="9971" y="411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27349" y="824315"/>
            <a:ext cx="3763883" cy="18300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227349" y="2640369"/>
            <a:ext cx="3763883" cy="23888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33" hasCustomPrompt="1"/>
          </p:nvPr>
        </p:nvSpPr>
        <p:spPr>
          <a:xfrm>
            <a:off x="3936000" y="0"/>
            <a:ext cx="8256000" cy="647222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altLang="zh-CN" dirty="0"/>
              <a:t>Click to insert</a:t>
            </a:r>
            <a:r>
              <a:rPr lang="zh-CN" altLang="en-US" dirty="0"/>
              <a:t> </a:t>
            </a:r>
            <a:r>
              <a:rPr lang="en-US" altLang="zh-CN" dirty="0"/>
              <a:t>image</a:t>
            </a:r>
            <a:endParaRPr lang="pt-PT" altLang="zh-CN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26" name="Freeform 6"/>
          <p:cNvSpPr/>
          <p:nvPr userDrawn="1"/>
        </p:nvSpPr>
        <p:spPr bwMode="auto">
          <a:xfrm>
            <a:off x="0" y="2312"/>
            <a:ext cx="9360442" cy="6855688"/>
          </a:xfrm>
          <a:custGeom>
            <a:avLst/>
            <a:gdLst/>
            <a:ahLst/>
            <a:cxnLst>
              <a:cxn ang="0">
                <a:pos x="1085" y="2886"/>
              </a:cxn>
              <a:cxn ang="0">
                <a:pos x="8" y="2886"/>
              </a:cxn>
              <a:cxn ang="0">
                <a:pos x="0" y="2878"/>
              </a:cxn>
              <a:cxn ang="0">
                <a:pos x="0" y="8"/>
              </a:cxn>
              <a:cxn ang="0">
                <a:pos x="8" y="0"/>
              </a:cxn>
              <a:cxn ang="0">
                <a:pos x="3941" y="0"/>
              </a:cxn>
              <a:cxn ang="0">
                <a:pos x="3940" y="7"/>
              </a:cxn>
              <a:cxn ang="0">
                <a:pos x="3836" y="226"/>
              </a:cxn>
              <a:cxn ang="0">
                <a:pos x="3513" y="535"/>
              </a:cxn>
              <a:cxn ang="0">
                <a:pos x="3236" y="679"/>
              </a:cxn>
              <a:cxn ang="0">
                <a:pos x="2622" y="944"/>
              </a:cxn>
              <a:cxn ang="0">
                <a:pos x="2193" y="1162"/>
              </a:cxn>
              <a:cxn ang="0">
                <a:pos x="1907" y="1375"/>
              </a:cxn>
              <a:cxn ang="0">
                <a:pos x="1766" y="1572"/>
              </a:cxn>
              <a:cxn ang="0">
                <a:pos x="1719" y="1763"/>
              </a:cxn>
              <a:cxn ang="0">
                <a:pos x="1722" y="1846"/>
              </a:cxn>
              <a:cxn ang="0">
                <a:pos x="1760" y="2017"/>
              </a:cxn>
              <a:cxn ang="0">
                <a:pos x="1870" y="2257"/>
              </a:cxn>
              <a:cxn ang="0">
                <a:pos x="1868" y="2270"/>
              </a:cxn>
              <a:cxn ang="0">
                <a:pos x="1453" y="2615"/>
              </a:cxn>
              <a:cxn ang="0">
                <a:pos x="1090" y="2881"/>
              </a:cxn>
              <a:cxn ang="0">
                <a:pos x="1085" y="2886"/>
              </a:cxn>
            </a:cxnLst>
            <a:rect l="0" t="0" r="r" b="b"/>
            <a:pathLst>
              <a:path w="3942" h="2886">
                <a:moveTo>
                  <a:pt x="1085" y="2886"/>
                </a:moveTo>
                <a:cubicBezTo>
                  <a:pt x="726" y="2886"/>
                  <a:pt x="367" y="2886"/>
                  <a:pt x="8" y="2886"/>
                </a:cubicBezTo>
                <a:cubicBezTo>
                  <a:pt x="2" y="2886"/>
                  <a:pt x="0" y="2884"/>
                  <a:pt x="0" y="2878"/>
                </a:cubicBezTo>
                <a:cubicBezTo>
                  <a:pt x="1" y="1921"/>
                  <a:pt x="1" y="965"/>
                  <a:pt x="0" y="8"/>
                </a:cubicBezTo>
                <a:cubicBezTo>
                  <a:pt x="0" y="2"/>
                  <a:pt x="2" y="0"/>
                  <a:pt x="8" y="0"/>
                </a:cubicBezTo>
                <a:cubicBezTo>
                  <a:pt x="1319" y="0"/>
                  <a:pt x="2630" y="0"/>
                  <a:pt x="3941" y="0"/>
                </a:cubicBezTo>
                <a:cubicBezTo>
                  <a:pt x="3942" y="3"/>
                  <a:pt x="3941" y="5"/>
                  <a:pt x="3940" y="7"/>
                </a:cubicBezTo>
                <a:cubicBezTo>
                  <a:pt x="3916" y="85"/>
                  <a:pt x="3881" y="158"/>
                  <a:pt x="3836" y="226"/>
                </a:cubicBezTo>
                <a:cubicBezTo>
                  <a:pt x="3751" y="353"/>
                  <a:pt x="3638" y="451"/>
                  <a:pt x="3513" y="535"/>
                </a:cubicBezTo>
                <a:cubicBezTo>
                  <a:pt x="3426" y="593"/>
                  <a:pt x="3332" y="639"/>
                  <a:pt x="3236" y="679"/>
                </a:cubicBezTo>
                <a:cubicBezTo>
                  <a:pt x="3031" y="766"/>
                  <a:pt x="2825" y="852"/>
                  <a:pt x="2622" y="944"/>
                </a:cubicBezTo>
                <a:cubicBezTo>
                  <a:pt x="2475" y="1010"/>
                  <a:pt x="2331" y="1080"/>
                  <a:pt x="2193" y="1162"/>
                </a:cubicBezTo>
                <a:cubicBezTo>
                  <a:pt x="2090" y="1223"/>
                  <a:pt x="1992" y="1291"/>
                  <a:pt x="1907" y="1375"/>
                </a:cubicBezTo>
                <a:cubicBezTo>
                  <a:pt x="1849" y="1433"/>
                  <a:pt x="1800" y="1497"/>
                  <a:pt x="1766" y="1572"/>
                </a:cubicBezTo>
                <a:cubicBezTo>
                  <a:pt x="1739" y="1633"/>
                  <a:pt x="1723" y="1697"/>
                  <a:pt x="1719" y="1763"/>
                </a:cubicBezTo>
                <a:cubicBezTo>
                  <a:pt x="1718" y="1791"/>
                  <a:pt x="1719" y="1818"/>
                  <a:pt x="1722" y="1846"/>
                </a:cubicBezTo>
                <a:cubicBezTo>
                  <a:pt x="1728" y="1904"/>
                  <a:pt x="1741" y="1961"/>
                  <a:pt x="1760" y="2017"/>
                </a:cubicBezTo>
                <a:cubicBezTo>
                  <a:pt x="1787" y="2101"/>
                  <a:pt x="1826" y="2180"/>
                  <a:pt x="1870" y="2257"/>
                </a:cubicBezTo>
                <a:cubicBezTo>
                  <a:pt x="1873" y="2262"/>
                  <a:pt x="1874" y="2265"/>
                  <a:pt x="1868" y="2270"/>
                </a:cubicBezTo>
                <a:cubicBezTo>
                  <a:pt x="1733" y="2389"/>
                  <a:pt x="1594" y="2503"/>
                  <a:pt x="1453" y="2615"/>
                </a:cubicBezTo>
                <a:cubicBezTo>
                  <a:pt x="1336" y="2708"/>
                  <a:pt x="1214" y="2796"/>
                  <a:pt x="1090" y="2881"/>
                </a:cubicBezTo>
                <a:cubicBezTo>
                  <a:pt x="1088" y="2882"/>
                  <a:pt x="1085" y="2883"/>
                  <a:pt x="1085" y="2886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27350" y="824315"/>
            <a:ext cx="4500650" cy="18300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33"/>
          </p:nvPr>
        </p:nvSpPr>
        <p:spPr>
          <a:xfrm>
            <a:off x="5160000" y="2997000"/>
            <a:ext cx="6755775" cy="3492700"/>
          </a:xfrm>
        </p:spPr>
        <p:txBody>
          <a:bodyPr/>
          <a:lstStyle/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9055100" y="6489700"/>
            <a:ext cx="3136900" cy="36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950" name="Freeform 6"/>
          <p:cNvSpPr/>
          <p:nvPr userDrawn="1"/>
        </p:nvSpPr>
        <p:spPr bwMode="auto">
          <a:xfrm>
            <a:off x="4102100" y="957972"/>
            <a:ext cx="8089900" cy="5900028"/>
          </a:xfrm>
          <a:custGeom>
            <a:avLst/>
            <a:gdLst/>
            <a:ahLst/>
            <a:cxnLst>
              <a:cxn ang="0">
                <a:pos x="3392" y="314"/>
              </a:cxn>
              <a:cxn ang="0">
                <a:pos x="3392" y="2059"/>
              </a:cxn>
              <a:cxn ang="0">
                <a:pos x="3375" y="2073"/>
              </a:cxn>
              <a:cxn ang="0">
                <a:pos x="3045" y="2278"/>
              </a:cxn>
              <a:cxn ang="0">
                <a:pos x="2880" y="2345"/>
              </a:cxn>
              <a:cxn ang="0">
                <a:pos x="2487" y="2458"/>
              </a:cxn>
              <a:cxn ang="0">
                <a:pos x="2422" y="2473"/>
              </a:cxn>
              <a:cxn ang="0">
                <a:pos x="183" y="2473"/>
              </a:cxn>
              <a:cxn ang="0">
                <a:pos x="182" y="2466"/>
              </a:cxn>
              <a:cxn ang="0">
                <a:pos x="123" y="2261"/>
              </a:cxn>
              <a:cxn ang="0">
                <a:pos x="87" y="2109"/>
              </a:cxn>
              <a:cxn ang="0">
                <a:pos x="40" y="1844"/>
              </a:cxn>
              <a:cxn ang="0">
                <a:pos x="22" y="1697"/>
              </a:cxn>
              <a:cxn ang="0">
                <a:pos x="9" y="1555"/>
              </a:cxn>
              <a:cxn ang="0">
                <a:pos x="3" y="1480"/>
              </a:cxn>
              <a:cxn ang="0">
                <a:pos x="0" y="1435"/>
              </a:cxn>
              <a:cxn ang="0">
                <a:pos x="0" y="1407"/>
              </a:cxn>
              <a:cxn ang="0">
                <a:pos x="5" y="1406"/>
              </a:cxn>
              <a:cxn ang="0">
                <a:pos x="110" y="1359"/>
              </a:cxn>
              <a:cxn ang="0">
                <a:pos x="261" y="1274"/>
              </a:cxn>
              <a:cxn ang="0">
                <a:pos x="563" y="1060"/>
              </a:cxn>
              <a:cxn ang="0">
                <a:pos x="987" y="725"/>
              </a:cxn>
              <a:cxn ang="0">
                <a:pos x="1356" y="450"/>
              </a:cxn>
              <a:cxn ang="0">
                <a:pos x="1456" y="383"/>
              </a:cxn>
              <a:cxn ang="0">
                <a:pos x="1856" y="161"/>
              </a:cxn>
              <a:cxn ang="0">
                <a:pos x="2259" y="29"/>
              </a:cxn>
              <a:cxn ang="0">
                <a:pos x="2486" y="2"/>
              </a:cxn>
              <a:cxn ang="0">
                <a:pos x="2493" y="0"/>
              </a:cxn>
              <a:cxn ang="0">
                <a:pos x="2511" y="0"/>
              </a:cxn>
              <a:cxn ang="0">
                <a:pos x="2515" y="2"/>
              </a:cxn>
              <a:cxn ang="0">
                <a:pos x="2595" y="2"/>
              </a:cxn>
              <a:cxn ang="0">
                <a:pos x="2690" y="9"/>
              </a:cxn>
              <a:cxn ang="0">
                <a:pos x="2942" y="63"/>
              </a:cxn>
              <a:cxn ang="0">
                <a:pos x="3305" y="245"/>
              </a:cxn>
              <a:cxn ang="0">
                <a:pos x="3392" y="314"/>
              </a:cxn>
            </a:cxnLst>
            <a:rect l="0" t="0" r="r" b="b"/>
            <a:pathLst>
              <a:path w="3392" h="2473">
                <a:moveTo>
                  <a:pt x="3392" y="314"/>
                </a:moveTo>
                <a:cubicBezTo>
                  <a:pt x="3392" y="896"/>
                  <a:pt x="3392" y="1477"/>
                  <a:pt x="3392" y="2059"/>
                </a:cubicBezTo>
                <a:cubicBezTo>
                  <a:pt x="3387" y="2063"/>
                  <a:pt x="3381" y="2068"/>
                  <a:pt x="3375" y="2073"/>
                </a:cubicBezTo>
                <a:cubicBezTo>
                  <a:pt x="3275" y="2157"/>
                  <a:pt x="3162" y="2221"/>
                  <a:pt x="3045" y="2278"/>
                </a:cubicBezTo>
                <a:cubicBezTo>
                  <a:pt x="2991" y="2304"/>
                  <a:pt x="2936" y="2325"/>
                  <a:pt x="2880" y="2345"/>
                </a:cubicBezTo>
                <a:cubicBezTo>
                  <a:pt x="2751" y="2391"/>
                  <a:pt x="2619" y="2427"/>
                  <a:pt x="2487" y="2458"/>
                </a:cubicBezTo>
                <a:cubicBezTo>
                  <a:pt x="2465" y="2463"/>
                  <a:pt x="2444" y="2467"/>
                  <a:pt x="2422" y="2473"/>
                </a:cubicBezTo>
                <a:cubicBezTo>
                  <a:pt x="1676" y="2473"/>
                  <a:pt x="929" y="2473"/>
                  <a:pt x="183" y="2473"/>
                </a:cubicBezTo>
                <a:cubicBezTo>
                  <a:pt x="184" y="2470"/>
                  <a:pt x="183" y="2468"/>
                  <a:pt x="182" y="2466"/>
                </a:cubicBezTo>
                <a:cubicBezTo>
                  <a:pt x="160" y="2398"/>
                  <a:pt x="140" y="2330"/>
                  <a:pt x="123" y="2261"/>
                </a:cubicBezTo>
                <a:cubicBezTo>
                  <a:pt x="110" y="2211"/>
                  <a:pt x="98" y="2160"/>
                  <a:pt x="87" y="2109"/>
                </a:cubicBezTo>
                <a:cubicBezTo>
                  <a:pt x="69" y="2022"/>
                  <a:pt x="53" y="1933"/>
                  <a:pt x="40" y="1844"/>
                </a:cubicBezTo>
                <a:cubicBezTo>
                  <a:pt x="33" y="1795"/>
                  <a:pt x="27" y="1746"/>
                  <a:pt x="22" y="1697"/>
                </a:cubicBezTo>
                <a:cubicBezTo>
                  <a:pt x="17" y="1649"/>
                  <a:pt x="12" y="1602"/>
                  <a:pt x="9" y="1555"/>
                </a:cubicBezTo>
                <a:cubicBezTo>
                  <a:pt x="7" y="1530"/>
                  <a:pt x="5" y="1505"/>
                  <a:pt x="3" y="1480"/>
                </a:cubicBezTo>
                <a:cubicBezTo>
                  <a:pt x="2" y="1465"/>
                  <a:pt x="3" y="1450"/>
                  <a:pt x="0" y="1435"/>
                </a:cubicBezTo>
                <a:cubicBezTo>
                  <a:pt x="0" y="1425"/>
                  <a:pt x="0" y="1416"/>
                  <a:pt x="0" y="1407"/>
                </a:cubicBezTo>
                <a:cubicBezTo>
                  <a:pt x="2" y="1407"/>
                  <a:pt x="3" y="1407"/>
                  <a:pt x="5" y="1406"/>
                </a:cubicBezTo>
                <a:cubicBezTo>
                  <a:pt x="41" y="1392"/>
                  <a:pt x="76" y="1377"/>
                  <a:pt x="110" y="1359"/>
                </a:cubicBezTo>
                <a:cubicBezTo>
                  <a:pt x="161" y="1332"/>
                  <a:pt x="212" y="1304"/>
                  <a:pt x="261" y="1274"/>
                </a:cubicBezTo>
                <a:cubicBezTo>
                  <a:pt x="366" y="1208"/>
                  <a:pt x="465" y="1135"/>
                  <a:pt x="563" y="1060"/>
                </a:cubicBezTo>
                <a:cubicBezTo>
                  <a:pt x="706" y="950"/>
                  <a:pt x="846" y="836"/>
                  <a:pt x="987" y="725"/>
                </a:cubicBezTo>
                <a:cubicBezTo>
                  <a:pt x="1108" y="630"/>
                  <a:pt x="1231" y="539"/>
                  <a:pt x="1356" y="450"/>
                </a:cubicBezTo>
                <a:cubicBezTo>
                  <a:pt x="1388" y="427"/>
                  <a:pt x="1422" y="405"/>
                  <a:pt x="1456" y="383"/>
                </a:cubicBezTo>
                <a:cubicBezTo>
                  <a:pt x="1584" y="300"/>
                  <a:pt x="1717" y="224"/>
                  <a:pt x="1856" y="161"/>
                </a:cubicBezTo>
                <a:cubicBezTo>
                  <a:pt x="1986" y="103"/>
                  <a:pt x="2119" y="56"/>
                  <a:pt x="2259" y="29"/>
                </a:cubicBezTo>
                <a:cubicBezTo>
                  <a:pt x="2334" y="14"/>
                  <a:pt x="2410" y="4"/>
                  <a:pt x="2486" y="2"/>
                </a:cubicBezTo>
                <a:cubicBezTo>
                  <a:pt x="2488" y="2"/>
                  <a:pt x="2491" y="2"/>
                  <a:pt x="2493" y="0"/>
                </a:cubicBezTo>
                <a:cubicBezTo>
                  <a:pt x="2499" y="0"/>
                  <a:pt x="2505" y="0"/>
                  <a:pt x="2511" y="0"/>
                </a:cubicBezTo>
                <a:cubicBezTo>
                  <a:pt x="2512" y="1"/>
                  <a:pt x="2514" y="2"/>
                  <a:pt x="2515" y="2"/>
                </a:cubicBezTo>
                <a:cubicBezTo>
                  <a:pt x="2542" y="2"/>
                  <a:pt x="2568" y="2"/>
                  <a:pt x="2595" y="2"/>
                </a:cubicBezTo>
                <a:cubicBezTo>
                  <a:pt x="2627" y="3"/>
                  <a:pt x="2658" y="6"/>
                  <a:pt x="2690" y="9"/>
                </a:cubicBezTo>
                <a:cubicBezTo>
                  <a:pt x="2776" y="19"/>
                  <a:pt x="2860" y="37"/>
                  <a:pt x="2942" y="63"/>
                </a:cubicBezTo>
                <a:cubicBezTo>
                  <a:pt x="3073" y="104"/>
                  <a:pt x="3194" y="164"/>
                  <a:pt x="3305" y="245"/>
                </a:cubicBezTo>
                <a:cubicBezTo>
                  <a:pt x="3335" y="267"/>
                  <a:pt x="3364" y="290"/>
                  <a:pt x="3392" y="314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7505700" y="2158999"/>
            <a:ext cx="4051300" cy="170189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7505699" y="3846869"/>
            <a:ext cx="4051300" cy="22491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15" name="Picture Placeholder 1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735874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altLang="zh-CN" dirty="0"/>
              <a:t>Click to insert</a:t>
            </a:r>
            <a:r>
              <a:rPr lang="zh-CN" altLang="en-US" dirty="0"/>
              <a:t> </a:t>
            </a:r>
            <a:r>
              <a:rPr lang="en-US" altLang="zh-CN" dirty="0"/>
              <a:t>image</a:t>
            </a:r>
            <a:endParaRPr lang="pt-PT" altLang="zh-CN" dirty="0"/>
          </a:p>
        </p:txBody>
      </p: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12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1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7481888" cy="68865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83975" name="Freeform 7"/>
          <p:cNvSpPr/>
          <p:nvPr userDrawn="1"/>
        </p:nvSpPr>
        <p:spPr bwMode="auto">
          <a:xfrm>
            <a:off x="1651000" y="5957888"/>
            <a:ext cx="19050" cy="6350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8" y="0"/>
              </a:cxn>
              <a:cxn ang="0">
                <a:pos x="0" y="3"/>
              </a:cxn>
            </a:cxnLst>
            <a:rect l="0" t="0" r="r" b="b"/>
            <a:pathLst>
              <a:path w="8" h="3">
                <a:moveTo>
                  <a:pt x="0" y="3"/>
                </a:moveTo>
                <a:cubicBezTo>
                  <a:pt x="2" y="2"/>
                  <a:pt x="5" y="1"/>
                  <a:pt x="8" y="0"/>
                </a:cubicBezTo>
                <a:cubicBezTo>
                  <a:pt x="5" y="0"/>
                  <a:pt x="2" y="1"/>
                  <a:pt x="0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grpSp>
        <p:nvGrpSpPr>
          <p:cNvPr id="3" name="Groupe 1"/>
          <p:cNvGrpSpPr/>
          <p:nvPr userDrawn="1"/>
        </p:nvGrpSpPr>
        <p:grpSpPr>
          <a:xfrm>
            <a:off x="1588" y="-3175"/>
            <a:ext cx="7485063" cy="6889750"/>
            <a:chOff x="1588" y="-3175"/>
            <a:chExt cx="7485063" cy="6889750"/>
          </a:xfrm>
        </p:grpSpPr>
        <p:sp>
          <p:nvSpPr>
            <p:cNvPr id="83973" name="Freeform 5"/>
            <p:cNvSpPr/>
            <p:nvPr userDrawn="1"/>
          </p:nvSpPr>
          <p:spPr bwMode="auto">
            <a:xfrm>
              <a:off x="1588" y="-3175"/>
              <a:ext cx="5280025" cy="6889750"/>
            </a:xfrm>
            <a:custGeom>
              <a:avLst/>
              <a:gdLst/>
              <a:ahLst/>
              <a:cxnLst>
                <a:cxn ang="0">
                  <a:pos x="1" y="2835"/>
                </a:cxn>
                <a:cxn ang="0">
                  <a:pos x="149" y="2735"/>
                </a:cxn>
                <a:cxn ang="0">
                  <a:pos x="393" y="2614"/>
                </a:cxn>
                <a:cxn ang="0">
                  <a:pos x="663" y="2508"/>
                </a:cxn>
                <a:cxn ang="0">
                  <a:pos x="691" y="2498"/>
                </a:cxn>
                <a:cxn ang="0">
                  <a:pos x="699" y="2495"/>
                </a:cxn>
                <a:cxn ang="0">
                  <a:pos x="814" y="2453"/>
                </a:cxn>
                <a:cxn ang="0">
                  <a:pos x="1047" y="2369"/>
                </a:cxn>
                <a:cxn ang="0">
                  <a:pos x="1208" y="2307"/>
                </a:cxn>
                <a:cxn ang="0">
                  <a:pos x="1405" y="2222"/>
                </a:cxn>
                <a:cxn ang="0">
                  <a:pos x="1549" y="2149"/>
                </a:cxn>
                <a:cxn ang="0">
                  <a:pos x="1664" y="2081"/>
                </a:cxn>
                <a:cxn ang="0">
                  <a:pos x="1772" y="2004"/>
                </a:cxn>
                <a:cxn ang="0">
                  <a:pos x="1889" y="1903"/>
                </a:cxn>
                <a:cxn ang="0">
                  <a:pos x="2001" y="1776"/>
                </a:cxn>
                <a:cxn ang="0">
                  <a:pos x="2058" y="1691"/>
                </a:cxn>
                <a:cxn ang="0">
                  <a:pos x="2116" y="1571"/>
                </a:cxn>
                <a:cxn ang="0">
                  <a:pos x="2170" y="1375"/>
                </a:cxn>
                <a:cxn ang="0">
                  <a:pos x="2199" y="1207"/>
                </a:cxn>
                <a:cxn ang="0">
                  <a:pos x="2206" y="940"/>
                </a:cxn>
                <a:cxn ang="0">
                  <a:pos x="2179" y="751"/>
                </a:cxn>
                <a:cxn ang="0">
                  <a:pos x="2123" y="578"/>
                </a:cxn>
                <a:cxn ang="0">
                  <a:pos x="2068" y="464"/>
                </a:cxn>
                <a:cxn ang="0">
                  <a:pos x="2010" y="370"/>
                </a:cxn>
                <a:cxn ang="0">
                  <a:pos x="1957" y="298"/>
                </a:cxn>
                <a:cxn ang="0">
                  <a:pos x="1843" y="174"/>
                </a:cxn>
                <a:cxn ang="0">
                  <a:pos x="1733" y="77"/>
                </a:cxn>
                <a:cxn ang="0">
                  <a:pos x="1630" y="0"/>
                </a:cxn>
                <a:cxn ang="0">
                  <a:pos x="0" y="0"/>
                </a:cxn>
                <a:cxn ang="0">
                  <a:pos x="0" y="2884"/>
                </a:cxn>
                <a:cxn ang="0">
                  <a:pos x="1" y="2884"/>
                </a:cxn>
                <a:cxn ang="0">
                  <a:pos x="1" y="2835"/>
                </a:cxn>
              </a:cxnLst>
              <a:rect l="0" t="0" r="r" b="b"/>
              <a:pathLst>
                <a:path w="2212" h="2884">
                  <a:moveTo>
                    <a:pt x="1" y="2835"/>
                  </a:moveTo>
                  <a:cubicBezTo>
                    <a:pt x="48" y="2798"/>
                    <a:pt x="98" y="2765"/>
                    <a:pt x="149" y="2735"/>
                  </a:cubicBezTo>
                  <a:cubicBezTo>
                    <a:pt x="228" y="2689"/>
                    <a:pt x="309" y="2650"/>
                    <a:pt x="393" y="2614"/>
                  </a:cubicBezTo>
                  <a:cubicBezTo>
                    <a:pt x="482" y="2576"/>
                    <a:pt x="572" y="2541"/>
                    <a:pt x="663" y="2508"/>
                  </a:cubicBezTo>
                  <a:cubicBezTo>
                    <a:pt x="672" y="2505"/>
                    <a:pt x="682" y="2501"/>
                    <a:pt x="691" y="2498"/>
                  </a:cubicBezTo>
                  <a:cubicBezTo>
                    <a:pt x="693" y="2496"/>
                    <a:pt x="696" y="2495"/>
                    <a:pt x="699" y="2495"/>
                  </a:cubicBezTo>
                  <a:cubicBezTo>
                    <a:pt x="737" y="2481"/>
                    <a:pt x="776" y="2467"/>
                    <a:pt x="814" y="2453"/>
                  </a:cubicBezTo>
                  <a:cubicBezTo>
                    <a:pt x="892" y="2425"/>
                    <a:pt x="969" y="2397"/>
                    <a:pt x="1047" y="2369"/>
                  </a:cubicBezTo>
                  <a:cubicBezTo>
                    <a:pt x="1101" y="2349"/>
                    <a:pt x="1155" y="2328"/>
                    <a:pt x="1208" y="2307"/>
                  </a:cubicBezTo>
                  <a:cubicBezTo>
                    <a:pt x="1274" y="2281"/>
                    <a:pt x="1340" y="2253"/>
                    <a:pt x="1405" y="2222"/>
                  </a:cubicBezTo>
                  <a:cubicBezTo>
                    <a:pt x="1453" y="2200"/>
                    <a:pt x="1501" y="2176"/>
                    <a:pt x="1549" y="2149"/>
                  </a:cubicBezTo>
                  <a:cubicBezTo>
                    <a:pt x="1588" y="2127"/>
                    <a:pt x="1626" y="2105"/>
                    <a:pt x="1664" y="2081"/>
                  </a:cubicBezTo>
                  <a:cubicBezTo>
                    <a:pt x="1701" y="2057"/>
                    <a:pt x="1737" y="2032"/>
                    <a:pt x="1772" y="2004"/>
                  </a:cubicBezTo>
                  <a:cubicBezTo>
                    <a:pt x="1813" y="1973"/>
                    <a:pt x="1852" y="1940"/>
                    <a:pt x="1889" y="1903"/>
                  </a:cubicBezTo>
                  <a:cubicBezTo>
                    <a:pt x="1929" y="1864"/>
                    <a:pt x="1967" y="1821"/>
                    <a:pt x="2001" y="1776"/>
                  </a:cubicBezTo>
                  <a:cubicBezTo>
                    <a:pt x="2022" y="1749"/>
                    <a:pt x="2039" y="1719"/>
                    <a:pt x="2058" y="1691"/>
                  </a:cubicBezTo>
                  <a:cubicBezTo>
                    <a:pt x="2082" y="1653"/>
                    <a:pt x="2101" y="1613"/>
                    <a:pt x="2116" y="1571"/>
                  </a:cubicBezTo>
                  <a:cubicBezTo>
                    <a:pt x="2140" y="1507"/>
                    <a:pt x="2153" y="1441"/>
                    <a:pt x="2170" y="1375"/>
                  </a:cubicBezTo>
                  <a:cubicBezTo>
                    <a:pt x="2184" y="1320"/>
                    <a:pt x="2192" y="1264"/>
                    <a:pt x="2199" y="1207"/>
                  </a:cubicBezTo>
                  <a:cubicBezTo>
                    <a:pt x="2210" y="1118"/>
                    <a:pt x="2212" y="1029"/>
                    <a:pt x="2206" y="940"/>
                  </a:cubicBezTo>
                  <a:cubicBezTo>
                    <a:pt x="2202" y="876"/>
                    <a:pt x="2195" y="813"/>
                    <a:pt x="2179" y="751"/>
                  </a:cubicBezTo>
                  <a:cubicBezTo>
                    <a:pt x="2164" y="692"/>
                    <a:pt x="2148" y="633"/>
                    <a:pt x="2123" y="578"/>
                  </a:cubicBezTo>
                  <a:cubicBezTo>
                    <a:pt x="2106" y="539"/>
                    <a:pt x="2090" y="500"/>
                    <a:pt x="2068" y="464"/>
                  </a:cubicBezTo>
                  <a:cubicBezTo>
                    <a:pt x="2050" y="432"/>
                    <a:pt x="2032" y="400"/>
                    <a:pt x="2010" y="370"/>
                  </a:cubicBezTo>
                  <a:cubicBezTo>
                    <a:pt x="1993" y="346"/>
                    <a:pt x="1976" y="321"/>
                    <a:pt x="1957" y="298"/>
                  </a:cubicBezTo>
                  <a:cubicBezTo>
                    <a:pt x="1921" y="255"/>
                    <a:pt x="1884" y="213"/>
                    <a:pt x="1843" y="174"/>
                  </a:cubicBezTo>
                  <a:cubicBezTo>
                    <a:pt x="1808" y="140"/>
                    <a:pt x="1772" y="107"/>
                    <a:pt x="1733" y="77"/>
                  </a:cubicBezTo>
                  <a:cubicBezTo>
                    <a:pt x="1699" y="50"/>
                    <a:pt x="1665" y="25"/>
                    <a:pt x="16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1"/>
                    <a:pt x="0" y="1923"/>
                    <a:pt x="0" y="2884"/>
                  </a:cubicBezTo>
                  <a:cubicBezTo>
                    <a:pt x="1" y="2884"/>
                    <a:pt x="1" y="2884"/>
                    <a:pt x="1" y="2884"/>
                  </a:cubicBezTo>
                  <a:cubicBezTo>
                    <a:pt x="1" y="2868"/>
                    <a:pt x="1" y="2852"/>
                    <a:pt x="1" y="2835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83976" name="Freeform 8"/>
            <p:cNvSpPr/>
            <p:nvPr userDrawn="1"/>
          </p:nvSpPr>
          <p:spPr bwMode="auto">
            <a:xfrm>
              <a:off x="4763" y="-3175"/>
              <a:ext cx="7481888" cy="6889750"/>
            </a:xfrm>
            <a:custGeom>
              <a:avLst/>
              <a:gdLst/>
              <a:ahLst/>
              <a:cxnLst>
                <a:cxn ang="0">
                  <a:pos x="3123" y="2136"/>
                </a:cxn>
                <a:cxn ang="0">
                  <a:pos x="3069" y="1788"/>
                </a:cxn>
                <a:cxn ang="0">
                  <a:pos x="3010" y="1567"/>
                </a:cxn>
                <a:cxn ang="0">
                  <a:pos x="2955" y="1406"/>
                </a:cxn>
                <a:cxn ang="0">
                  <a:pos x="2899" y="1268"/>
                </a:cxn>
                <a:cxn ang="0">
                  <a:pos x="2842" y="1144"/>
                </a:cxn>
                <a:cxn ang="0">
                  <a:pos x="2785" y="1036"/>
                </a:cxn>
                <a:cxn ang="0">
                  <a:pos x="2731" y="941"/>
                </a:cxn>
                <a:cxn ang="0">
                  <a:pos x="2673" y="849"/>
                </a:cxn>
                <a:cxn ang="0">
                  <a:pos x="2618" y="768"/>
                </a:cxn>
                <a:cxn ang="0">
                  <a:pos x="2561" y="691"/>
                </a:cxn>
                <a:cxn ang="0">
                  <a:pos x="2505" y="620"/>
                </a:cxn>
                <a:cxn ang="0">
                  <a:pos x="2394" y="493"/>
                </a:cxn>
                <a:cxn ang="0">
                  <a:pos x="2393" y="492"/>
                </a:cxn>
                <a:cxn ang="0">
                  <a:pos x="2336" y="432"/>
                </a:cxn>
                <a:cxn ang="0">
                  <a:pos x="2222" y="324"/>
                </a:cxn>
                <a:cxn ang="0">
                  <a:pos x="2112" y="231"/>
                </a:cxn>
                <a:cxn ang="0">
                  <a:pos x="1997" y="144"/>
                </a:cxn>
                <a:cxn ang="0">
                  <a:pos x="1885" y="70"/>
                </a:cxn>
                <a:cxn ang="0">
                  <a:pos x="1773" y="3"/>
                </a:cxn>
                <a:cxn ang="0">
                  <a:pos x="1767" y="0"/>
                </a:cxn>
                <a:cxn ang="0">
                  <a:pos x="1711" y="0"/>
                </a:cxn>
                <a:cxn ang="0">
                  <a:pos x="1629" y="0"/>
                </a:cxn>
                <a:cxn ang="0">
                  <a:pos x="1732" y="77"/>
                </a:cxn>
                <a:cxn ang="0">
                  <a:pos x="1842" y="174"/>
                </a:cxn>
                <a:cxn ang="0">
                  <a:pos x="1956" y="298"/>
                </a:cxn>
                <a:cxn ang="0">
                  <a:pos x="2009" y="370"/>
                </a:cxn>
                <a:cxn ang="0">
                  <a:pos x="2067" y="464"/>
                </a:cxn>
                <a:cxn ang="0">
                  <a:pos x="2122" y="578"/>
                </a:cxn>
                <a:cxn ang="0">
                  <a:pos x="2178" y="751"/>
                </a:cxn>
                <a:cxn ang="0">
                  <a:pos x="2205" y="940"/>
                </a:cxn>
                <a:cxn ang="0">
                  <a:pos x="2198" y="1207"/>
                </a:cxn>
                <a:cxn ang="0">
                  <a:pos x="2169" y="1375"/>
                </a:cxn>
                <a:cxn ang="0">
                  <a:pos x="2115" y="1571"/>
                </a:cxn>
                <a:cxn ang="0">
                  <a:pos x="2057" y="1691"/>
                </a:cxn>
                <a:cxn ang="0">
                  <a:pos x="2000" y="1776"/>
                </a:cxn>
                <a:cxn ang="0">
                  <a:pos x="1888" y="1903"/>
                </a:cxn>
                <a:cxn ang="0">
                  <a:pos x="1771" y="2004"/>
                </a:cxn>
                <a:cxn ang="0">
                  <a:pos x="1663" y="2081"/>
                </a:cxn>
                <a:cxn ang="0">
                  <a:pos x="1548" y="2149"/>
                </a:cxn>
                <a:cxn ang="0">
                  <a:pos x="1404" y="2222"/>
                </a:cxn>
                <a:cxn ang="0">
                  <a:pos x="1207" y="2307"/>
                </a:cxn>
                <a:cxn ang="0">
                  <a:pos x="1046" y="2369"/>
                </a:cxn>
                <a:cxn ang="0">
                  <a:pos x="813" y="2453"/>
                </a:cxn>
                <a:cxn ang="0">
                  <a:pos x="698" y="2495"/>
                </a:cxn>
                <a:cxn ang="0">
                  <a:pos x="690" y="2498"/>
                </a:cxn>
                <a:cxn ang="0">
                  <a:pos x="662" y="2508"/>
                </a:cxn>
                <a:cxn ang="0">
                  <a:pos x="392" y="2614"/>
                </a:cxn>
                <a:cxn ang="0">
                  <a:pos x="148" y="2735"/>
                </a:cxn>
                <a:cxn ang="0">
                  <a:pos x="0" y="2835"/>
                </a:cxn>
                <a:cxn ang="0">
                  <a:pos x="0" y="2884"/>
                </a:cxn>
                <a:cxn ang="0">
                  <a:pos x="536" y="2884"/>
                </a:cxn>
                <a:cxn ang="0">
                  <a:pos x="2395" y="2884"/>
                </a:cxn>
                <a:cxn ang="0">
                  <a:pos x="2608" y="2884"/>
                </a:cxn>
                <a:cxn ang="0">
                  <a:pos x="2629" y="2870"/>
                </a:cxn>
                <a:cxn ang="0">
                  <a:pos x="2798" y="2779"/>
                </a:cxn>
                <a:cxn ang="0">
                  <a:pos x="2992" y="2729"/>
                </a:cxn>
                <a:cxn ang="0">
                  <a:pos x="3091" y="2723"/>
                </a:cxn>
                <a:cxn ang="0">
                  <a:pos x="3101" y="2715"/>
                </a:cxn>
                <a:cxn ang="0">
                  <a:pos x="3128" y="2493"/>
                </a:cxn>
                <a:cxn ang="0">
                  <a:pos x="3133" y="2390"/>
                </a:cxn>
                <a:cxn ang="0">
                  <a:pos x="3123" y="2136"/>
                </a:cxn>
              </a:cxnLst>
              <a:rect l="0" t="0" r="r" b="b"/>
              <a:pathLst>
                <a:path w="3135" h="2884">
                  <a:moveTo>
                    <a:pt x="3123" y="2136"/>
                  </a:moveTo>
                  <a:cubicBezTo>
                    <a:pt x="3111" y="2019"/>
                    <a:pt x="3098" y="1902"/>
                    <a:pt x="3069" y="1788"/>
                  </a:cubicBezTo>
                  <a:cubicBezTo>
                    <a:pt x="3051" y="1714"/>
                    <a:pt x="3036" y="1639"/>
                    <a:pt x="3010" y="1567"/>
                  </a:cubicBezTo>
                  <a:cubicBezTo>
                    <a:pt x="2992" y="1514"/>
                    <a:pt x="2978" y="1458"/>
                    <a:pt x="2955" y="1406"/>
                  </a:cubicBezTo>
                  <a:cubicBezTo>
                    <a:pt x="2936" y="1360"/>
                    <a:pt x="2921" y="1312"/>
                    <a:pt x="2899" y="1268"/>
                  </a:cubicBezTo>
                  <a:cubicBezTo>
                    <a:pt x="2879" y="1227"/>
                    <a:pt x="2864" y="1184"/>
                    <a:pt x="2842" y="1144"/>
                  </a:cubicBezTo>
                  <a:cubicBezTo>
                    <a:pt x="2822" y="1109"/>
                    <a:pt x="2807" y="1071"/>
                    <a:pt x="2785" y="1036"/>
                  </a:cubicBezTo>
                  <a:cubicBezTo>
                    <a:pt x="2766" y="1005"/>
                    <a:pt x="2751" y="972"/>
                    <a:pt x="2731" y="941"/>
                  </a:cubicBezTo>
                  <a:cubicBezTo>
                    <a:pt x="2710" y="911"/>
                    <a:pt x="2694" y="879"/>
                    <a:pt x="2673" y="849"/>
                  </a:cubicBezTo>
                  <a:cubicBezTo>
                    <a:pt x="2653" y="823"/>
                    <a:pt x="2638" y="794"/>
                    <a:pt x="2618" y="768"/>
                  </a:cubicBezTo>
                  <a:cubicBezTo>
                    <a:pt x="2598" y="744"/>
                    <a:pt x="2582" y="716"/>
                    <a:pt x="2561" y="691"/>
                  </a:cubicBezTo>
                  <a:cubicBezTo>
                    <a:pt x="2541" y="668"/>
                    <a:pt x="2524" y="643"/>
                    <a:pt x="2505" y="620"/>
                  </a:cubicBezTo>
                  <a:cubicBezTo>
                    <a:pt x="2469" y="577"/>
                    <a:pt x="2433" y="534"/>
                    <a:pt x="2394" y="493"/>
                  </a:cubicBezTo>
                  <a:cubicBezTo>
                    <a:pt x="2394" y="493"/>
                    <a:pt x="2394" y="493"/>
                    <a:pt x="2393" y="492"/>
                  </a:cubicBezTo>
                  <a:cubicBezTo>
                    <a:pt x="2374" y="473"/>
                    <a:pt x="2356" y="452"/>
                    <a:pt x="2336" y="432"/>
                  </a:cubicBezTo>
                  <a:cubicBezTo>
                    <a:pt x="2299" y="395"/>
                    <a:pt x="2261" y="359"/>
                    <a:pt x="2222" y="324"/>
                  </a:cubicBezTo>
                  <a:cubicBezTo>
                    <a:pt x="2186" y="292"/>
                    <a:pt x="2150" y="261"/>
                    <a:pt x="2112" y="231"/>
                  </a:cubicBezTo>
                  <a:cubicBezTo>
                    <a:pt x="2075" y="201"/>
                    <a:pt x="2036" y="172"/>
                    <a:pt x="1997" y="144"/>
                  </a:cubicBezTo>
                  <a:cubicBezTo>
                    <a:pt x="1960" y="118"/>
                    <a:pt x="1923" y="93"/>
                    <a:pt x="1885" y="70"/>
                  </a:cubicBezTo>
                  <a:cubicBezTo>
                    <a:pt x="1848" y="47"/>
                    <a:pt x="1811" y="25"/>
                    <a:pt x="1773" y="3"/>
                  </a:cubicBezTo>
                  <a:cubicBezTo>
                    <a:pt x="1771" y="2"/>
                    <a:pt x="1769" y="1"/>
                    <a:pt x="1767" y="0"/>
                  </a:cubicBezTo>
                  <a:cubicBezTo>
                    <a:pt x="1711" y="0"/>
                    <a:pt x="1711" y="0"/>
                    <a:pt x="1711" y="0"/>
                  </a:cubicBezTo>
                  <a:cubicBezTo>
                    <a:pt x="1629" y="0"/>
                    <a:pt x="1629" y="0"/>
                    <a:pt x="1629" y="0"/>
                  </a:cubicBezTo>
                  <a:cubicBezTo>
                    <a:pt x="1664" y="25"/>
                    <a:pt x="1698" y="50"/>
                    <a:pt x="1732" y="77"/>
                  </a:cubicBezTo>
                  <a:cubicBezTo>
                    <a:pt x="1771" y="107"/>
                    <a:pt x="1807" y="140"/>
                    <a:pt x="1842" y="174"/>
                  </a:cubicBezTo>
                  <a:cubicBezTo>
                    <a:pt x="1883" y="213"/>
                    <a:pt x="1920" y="255"/>
                    <a:pt x="1956" y="298"/>
                  </a:cubicBezTo>
                  <a:cubicBezTo>
                    <a:pt x="1975" y="321"/>
                    <a:pt x="1992" y="346"/>
                    <a:pt x="2009" y="370"/>
                  </a:cubicBezTo>
                  <a:cubicBezTo>
                    <a:pt x="2031" y="400"/>
                    <a:pt x="2049" y="432"/>
                    <a:pt x="2067" y="464"/>
                  </a:cubicBezTo>
                  <a:cubicBezTo>
                    <a:pt x="2089" y="500"/>
                    <a:pt x="2105" y="539"/>
                    <a:pt x="2122" y="578"/>
                  </a:cubicBezTo>
                  <a:cubicBezTo>
                    <a:pt x="2147" y="633"/>
                    <a:pt x="2163" y="692"/>
                    <a:pt x="2178" y="751"/>
                  </a:cubicBezTo>
                  <a:cubicBezTo>
                    <a:pt x="2194" y="813"/>
                    <a:pt x="2201" y="876"/>
                    <a:pt x="2205" y="940"/>
                  </a:cubicBezTo>
                  <a:cubicBezTo>
                    <a:pt x="2211" y="1029"/>
                    <a:pt x="2209" y="1118"/>
                    <a:pt x="2198" y="1207"/>
                  </a:cubicBezTo>
                  <a:cubicBezTo>
                    <a:pt x="2191" y="1264"/>
                    <a:pt x="2183" y="1320"/>
                    <a:pt x="2169" y="1375"/>
                  </a:cubicBezTo>
                  <a:cubicBezTo>
                    <a:pt x="2152" y="1441"/>
                    <a:pt x="2139" y="1507"/>
                    <a:pt x="2115" y="1571"/>
                  </a:cubicBezTo>
                  <a:cubicBezTo>
                    <a:pt x="2100" y="1613"/>
                    <a:pt x="2081" y="1653"/>
                    <a:pt x="2057" y="1691"/>
                  </a:cubicBezTo>
                  <a:cubicBezTo>
                    <a:pt x="2038" y="1719"/>
                    <a:pt x="2021" y="1749"/>
                    <a:pt x="2000" y="1776"/>
                  </a:cubicBezTo>
                  <a:cubicBezTo>
                    <a:pt x="1966" y="1821"/>
                    <a:pt x="1928" y="1864"/>
                    <a:pt x="1888" y="1903"/>
                  </a:cubicBezTo>
                  <a:cubicBezTo>
                    <a:pt x="1851" y="1940"/>
                    <a:pt x="1812" y="1973"/>
                    <a:pt x="1771" y="2004"/>
                  </a:cubicBezTo>
                  <a:cubicBezTo>
                    <a:pt x="1736" y="2032"/>
                    <a:pt x="1700" y="2057"/>
                    <a:pt x="1663" y="2081"/>
                  </a:cubicBezTo>
                  <a:cubicBezTo>
                    <a:pt x="1625" y="2105"/>
                    <a:pt x="1587" y="2127"/>
                    <a:pt x="1548" y="2149"/>
                  </a:cubicBezTo>
                  <a:cubicBezTo>
                    <a:pt x="1500" y="2176"/>
                    <a:pt x="1452" y="2200"/>
                    <a:pt x="1404" y="2222"/>
                  </a:cubicBezTo>
                  <a:cubicBezTo>
                    <a:pt x="1339" y="2253"/>
                    <a:pt x="1273" y="2281"/>
                    <a:pt x="1207" y="2307"/>
                  </a:cubicBezTo>
                  <a:cubicBezTo>
                    <a:pt x="1154" y="2328"/>
                    <a:pt x="1100" y="2349"/>
                    <a:pt x="1046" y="2369"/>
                  </a:cubicBezTo>
                  <a:cubicBezTo>
                    <a:pt x="968" y="2397"/>
                    <a:pt x="891" y="2425"/>
                    <a:pt x="813" y="2453"/>
                  </a:cubicBezTo>
                  <a:cubicBezTo>
                    <a:pt x="775" y="2467"/>
                    <a:pt x="736" y="2481"/>
                    <a:pt x="698" y="2495"/>
                  </a:cubicBezTo>
                  <a:cubicBezTo>
                    <a:pt x="695" y="2496"/>
                    <a:pt x="692" y="2497"/>
                    <a:pt x="690" y="2498"/>
                  </a:cubicBezTo>
                  <a:cubicBezTo>
                    <a:pt x="681" y="2501"/>
                    <a:pt x="671" y="2505"/>
                    <a:pt x="662" y="2508"/>
                  </a:cubicBezTo>
                  <a:cubicBezTo>
                    <a:pt x="571" y="2541"/>
                    <a:pt x="481" y="2576"/>
                    <a:pt x="392" y="2614"/>
                  </a:cubicBezTo>
                  <a:cubicBezTo>
                    <a:pt x="308" y="2650"/>
                    <a:pt x="227" y="2689"/>
                    <a:pt x="148" y="2735"/>
                  </a:cubicBezTo>
                  <a:cubicBezTo>
                    <a:pt x="97" y="2765"/>
                    <a:pt x="47" y="2798"/>
                    <a:pt x="0" y="2835"/>
                  </a:cubicBezTo>
                  <a:cubicBezTo>
                    <a:pt x="0" y="2852"/>
                    <a:pt x="0" y="2868"/>
                    <a:pt x="0" y="2884"/>
                  </a:cubicBezTo>
                  <a:cubicBezTo>
                    <a:pt x="536" y="2884"/>
                    <a:pt x="536" y="2884"/>
                    <a:pt x="536" y="2884"/>
                  </a:cubicBezTo>
                  <a:cubicBezTo>
                    <a:pt x="2395" y="2884"/>
                    <a:pt x="2395" y="2884"/>
                    <a:pt x="2395" y="2884"/>
                  </a:cubicBezTo>
                  <a:cubicBezTo>
                    <a:pt x="2608" y="2884"/>
                    <a:pt x="2608" y="2884"/>
                    <a:pt x="2608" y="2884"/>
                  </a:cubicBezTo>
                  <a:cubicBezTo>
                    <a:pt x="2615" y="2880"/>
                    <a:pt x="2622" y="2875"/>
                    <a:pt x="2629" y="2870"/>
                  </a:cubicBezTo>
                  <a:cubicBezTo>
                    <a:pt x="2682" y="2833"/>
                    <a:pt x="2738" y="2803"/>
                    <a:pt x="2798" y="2779"/>
                  </a:cubicBezTo>
                  <a:cubicBezTo>
                    <a:pt x="2861" y="2754"/>
                    <a:pt x="2926" y="2738"/>
                    <a:pt x="2992" y="2729"/>
                  </a:cubicBezTo>
                  <a:cubicBezTo>
                    <a:pt x="3025" y="2725"/>
                    <a:pt x="3058" y="2724"/>
                    <a:pt x="3091" y="2723"/>
                  </a:cubicBezTo>
                  <a:cubicBezTo>
                    <a:pt x="3097" y="2723"/>
                    <a:pt x="3099" y="2722"/>
                    <a:pt x="3101" y="2715"/>
                  </a:cubicBezTo>
                  <a:cubicBezTo>
                    <a:pt x="3115" y="2641"/>
                    <a:pt x="3120" y="2567"/>
                    <a:pt x="3128" y="2493"/>
                  </a:cubicBezTo>
                  <a:cubicBezTo>
                    <a:pt x="3132" y="2459"/>
                    <a:pt x="3132" y="2424"/>
                    <a:pt x="3133" y="2390"/>
                  </a:cubicBezTo>
                  <a:cubicBezTo>
                    <a:pt x="3135" y="2305"/>
                    <a:pt x="3131" y="2221"/>
                    <a:pt x="3123" y="213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 dirty="0"/>
            </a:p>
          </p:txBody>
        </p:sp>
      </p:grpSp>
      <p:sp>
        <p:nvSpPr>
          <p:cNvPr id="13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231350" y="2419570"/>
            <a:ext cx="4264593" cy="206357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27350" y="566057"/>
            <a:ext cx="4257564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15" name="Picture Placeholder 17"/>
          <p:cNvSpPr>
            <a:spLocks noGrp="1"/>
          </p:cNvSpPr>
          <p:nvPr>
            <p:ph type="pic" sz="quarter" idx="10" hasCustomPrompt="1"/>
          </p:nvPr>
        </p:nvSpPr>
        <p:spPr>
          <a:xfrm>
            <a:off x="4833257" y="-1"/>
            <a:ext cx="735874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altLang="zh-CN" dirty="0"/>
              <a:t>Click to insert</a:t>
            </a:r>
            <a:r>
              <a:rPr lang="zh-CN" altLang="en-US" dirty="0"/>
              <a:t> </a:t>
            </a:r>
            <a:r>
              <a:rPr lang="en-US" altLang="zh-CN" dirty="0"/>
              <a:t>image</a:t>
            </a:r>
            <a:endParaRPr lang="pt-PT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6724994" cy="1104900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9" name="Freeform 6"/>
          <p:cNvSpPr/>
          <p:nvPr userDrawn="1"/>
        </p:nvSpPr>
        <p:spPr bwMode="auto">
          <a:xfrm>
            <a:off x="6441978" y="0"/>
            <a:ext cx="5750022" cy="5887322"/>
          </a:xfrm>
          <a:custGeom>
            <a:avLst/>
            <a:gdLst/>
            <a:ahLst/>
            <a:cxnLst>
              <a:cxn ang="0">
                <a:pos x="782" y="0"/>
              </a:cxn>
              <a:cxn ang="0">
                <a:pos x="2429" y="0"/>
              </a:cxn>
              <a:cxn ang="0">
                <a:pos x="2429" y="1457"/>
              </a:cxn>
              <a:cxn ang="0">
                <a:pos x="2429" y="1472"/>
              </a:cxn>
              <a:cxn ang="0">
                <a:pos x="2428" y="1482"/>
              </a:cxn>
              <a:cxn ang="0">
                <a:pos x="2388" y="1687"/>
              </a:cxn>
              <a:cxn ang="0">
                <a:pos x="2249" y="2084"/>
              </a:cxn>
              <a:cxn ang="0">
                <a:pos x="2122" y="2284"/>
              </a:cxn>
              <a:cxn ang="0">
                <a:pos x="2025" y="2379"/>
              </a:cxn>
              <a:cxn ang="0">
                <a:pos x="1819" y="2476"/>
              </a:cxn>
              <a:cxn ang="0">
                <a:pos x="1760" y="2484"/>
              </a:cxn>
              <a:cxn ang="0">
                <a:pos x="1699" y="2484"/>
              </a:cxn>
              <a:cxn ang="0">
                <a:pos x="1690" y="2483"/>
              </a:cxn>
              <a:cxn ang="0">
                <a:pos x="1562" y="2459"/>
              </a:cxn>
              <a:cxn ang="0">
                <a:pos x="1554" y="2451"/>
              </a:cxn>
              <a:cxn ang="0">
                <a:pos x="1522" y="2378"/>
              </a:cxn>
              <a:cxn ang="0">
                <a:pos x="1415" y="2267"/>
              </a:cxn>
              <a:cxn ang="0">
                <a:pos x="1266" y="2168"/>
              </a:cxn>
              <a:cxn ang="0">
                <a:pos x="929" y="1993"/>
              </a:cxn>
              <a:cxn ang="0">
                <a:pos x="556" y="1797"/>
              </a:cxn>
              <a:cxn ang="0">
                <a:pos x="256" y="1586"/>
              </a:cxn>
              <a:cxn ang="0">
                <a:pos x="68" y="1358"/>
              </a:cxn>
              <a:cxn ang="0">
                <a:pos x="24" y="1256"/>
              </a:cxn>
              <a:cxn ang="0">
                <a:pos x="0" y="1129"/>
              </a:cxn>
              <a:cxn ang="0">
                <a:pos x="0" y="1060"/>
              </a:cxn>
              <a:cxn ang="0">
                <a:pos x="12" y="973"/>
              </a:cxn>
              <a:cxn ang="0">
                <a:pos x="112" y="718"/>
              </a:cxn>
              <a:cxn ang="0">
                <a:pos x="336" y="415"/>
              </a:cxn>
              <a:cxn ang="0">
                <a:pos x="730" y="43"/>
              </a:cxn>
              <a:cxn ang="0">
                <a:pos x="782" y="0"/>
              </a:cxn>
            </a:cxnLst>
            <a:rect l="0" t="0" r="r" b="b"/>
            <a:pathLst>
              <a:path w="2429" h="2484">
                <a:moveTo>
                  <a:pt x="782" y="0"/>
                </a:moveTo>
                <a:cubicBezTo>
                  <a:pt x="1331" y="0"/>
                  <a:pt x="1880" y="0"/>
                  <a:pt x="2429" y="0"/>
                </a:cubicBezTo>
                <a:cubicBezTo>
                  <a:pt x="2429" y="486"/>
                  <a:pt x="2429" y="971"/>
                  <a:pt x="2429" y="1457"/>
                </a:cubicBezTo>
                <a:cubicBezTo>
                  <a:pt x="2429" y="1462"/>
                  <a:pt x="2429" y="1467"/>
                  <a:pt x="2429" y="1472"/>
                </a:cubicBezTo>
                <a:cubicBezTo>
                  <a:pt x="2429" y="1476"/>
                  <a:pt x="2429" y="1479"/>
                  <a:pt x="2428" y="1482"/>
                </a:cubicBezTo>
                <a:cubicBezTo>
                  <a:pt x="2418" y="1551"/>
                  <a:pt x="2405" y="1619"/>
                  <a:pt x="2388" y="1687"/>
                </a:cubicBezTo>
                <a:cubicBezTo>
                  <a:pt x="2355" y="1824"/>
                  <a:pt x="2312" y="1957"/>
                  <a:pt x="2249" y="2084"/>
                </a:cubicBezTo>
                <a:cubicBezTo>
                  <a:pt x="2214" y="2155"/>
                  <a:pt x="2171" y="2222"/>
                  <a:pt x="2122" y="2284"/>
                </a:cubicBezTo>
                <a:cubicBezTo>
                  <a:pt x="2093" y="2319"/>
                  <a:pt x="2061" y="2351"/>
                  <a:pt x="2025" y="2379"/>
                </a:cubicBezTo>
                <a:cubicBezTo>
                  <a:pt x="1964" y="2427"/>
                  <a:pt x="1896" y="2461"/>
                  <a:pt x="1819" y="2476"/>
                </a:cubicBezTo>
                <a:cubicBezTo>
                  <a:pt x="1799" y="2480"/>
                  <a:pt x="1779" y="2481"/>
                  <a:pt x="1760" y="2484"/>
                </a:cubicBezTo>
                <a:cubicBezTo>
                  <a:pt x="1740" y="2484"/>
                  <a:pt x="1719" y="2484"/>
                  <a:pt x="1699" y="2484"/>
                </a:cubicBezTo>
                <a:cubicBezTo>
                  <a:pt x="1696" y="2484"/>
                  <a:pt x="1693" y="2483"/>
                  <a:pt x="1690" y="2483"/>
                </a:cubicBezTo>
                <a:cubicBezTo>
                  <a:pt x="1647" y="2480"/>
                  <a:pt x="1604" y="2471"/>
                  <a:pt x="1562" y="2459"/>
                </a:cubicBezTo>
                <a:cubicBezTo>
                  <a:pt x="1558" y="2457"/>
                  <a:pt x="1555" y="2455"/>
                  <a:pt x="1554" y="2451"/>
                </a:cubicBezTo>
                <a:cubicBezTo>
                  <a:pt x="1549" y="2424"/>
                  <a:pt x="1537" y="2400"/>
                  <a:pt x="1522" y="2378"/>
                </a:cubicBezTo>
                <a:cubicBezTo>
                  <a:pt x="1494" y="2334"/>
                  <a:pt x="1455" y="2300"/>
                  <a:pt x="1415" y="2267"/>
                </a:cubicBezTo>
                <a:cubicBezTo>
                  <a:pt x="1369" y="2229"/>
                  <a:pt x="1317" y="2198"/>
                  <a:pt x="1266" y="2168"/>
                </a:cubicBezTo>
                <a:cubicBezTo>
                  <a:pt x="1156" y="2105"/>
                  <a:pt x="1042" y="2050"/>
                  <a:pt x="929" y="1993"/>
                </a:cubicBezTo>
                <a:cubicBezTo>
                  <a:pt x="803" y="1930"/>
                  <a:pt x="677" y="1868"/>
                  <a:pt x="556" y="1797"/>
                </a:cubicBezTo>
                <a:cubicBezTo>
                  <a:pt x="450" y="1734"/>
                  <a:pt x="348" y="1667"/>
                  <a:pt x="256" y="1586"/>
                </a:cubicBezTo>
                <a:cubicBezTo>
                  <a:pt x="181" y="1520"/>
                  <a:pt x="115" y="1447"/>
                  <a:pt x="68" y="1358"/>
                </a:cubicBezTo>
                <a:cubicBezTo>
                  <a:pt x="50" y="1325"/>
                  <a:pt x="35" y="1292"/>
                  <a:pt x="24" y="1256"/>
                </a:cubicBezTo>
                <a:cubicBezTo>
                  <a:pt x="11" y="1215"/>
                  <a:pt x="2" y="1173"/>
                  <a:pt x="0" y="1129"/>
                </a:cubicBezTo>
                <a:cubicBezTo>
                  <a:pt x="0" y="1106"/>
                  <a:pt x="0" y="1083"/>
                  <a:pt x="0" y="1060"/>
                </a:cubicBezTo>
                <a:cubicBezTo>
                  <a:pt x="1" y="1031"/>
                  <a:pt x="6" y="1002"/>
                  <a:pt x="12" y="973"/>
                </a:cubicBezTo>
                <a:cubicBezTo>
                  <a:pt x="30" y="883"/>
                  <a:pt x="67" y="799"/>
                  <a:pt x="112" y="718"/>
                </a:cubicBezTo>
                <a:cubicBezTo>
                  <a:pt x="175" y="608"/>
                  <a:pt x="252" y="509"/>
                  <a:pt x="336" y="415"/>
                </a:cubicBezTo>
                <a:cubicBezTo>
                  <a:pt x="456" y="280"/>
                  <a:pt x="591" y="159"/>
                  <a:pt x="730" y="43"/>
                </a:cubicBezTo>
                <a:cubicBezTo>
                  <a:pt x="748" y="29"/>
                  <a:pt x="766" y="15"/>
                  <a:pt x="782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10" name="Freeform 13"/>
          <p:cNvSpPr/>
          <p:nvPr userDrawn="1"/>
        </p:nvSpPr>
        <p:spPr bwMode="auto">
          <a:xfrm>
            <a:off x="11644642" y="334376"/>
            <a:ext cx="275896" cy="226185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11" name="Freeform 14"/>
          <p:cNvSpPr/>
          <p:nvPr userDrawn="1"/>
        </p:nvSpPr>
        <p:spPr bwMode="auto">
          <a:xfrm>
            <a:off x="11501102" y="171573"/>
            <a:ext cx="419436" cy="356676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0" hasCustomPrompt="1"/>
          </p:nvPr>
        </p:nvSpPr>
        <p:spPr>
          <a:xfrm>
            <a:off x="6284686" y="-1"/>
            <a:ext cx="590731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altLang="zh-CN" dirty="0"/>
              <a:t>Click to insert</a:t>
            </a:r>
            <a:r>
              <a:rPr lang="zh-CN" altLang="en-US" dirty="0"/>
              <a:t> </a:t>
            </a:r>
            <a:r>
              <a:rPr lang="en-US" altLang="zh-CN" dirty="0"/>
              <a:t>image</a:t>
            </a:r>
            <a:endParaRPr lang="pt-PT" altLang="zh-CN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227349" y="1919898"/>
            <a:ext cx="4123375" cy="40164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6"/>
          <p:cNvSpPr/>
          <p:nvPr userDrawn="1"/>
        </p:nvSpPr>
        <p:spPr bwMode="auto">
          <a:xfrm>
            <a:off x="6258848" y="0"/>
            <a:ext cx="5933152" cy="2073918"/>
          </a:xfrm>
          <a:custGeom>
            <a:avLst/>
            <a:gdLst/>
            <a:ahLst/>
            <a:cxnLst>
              <a:cxn ang="0">
                <a:pos x="1871" y="215"/>
              </a:cxn>
              <a:cxn ang="0">
                <a:pos x="1871" y="223"/>
              </a:cxn>
              <a:cxn ang="0">
                <a:pos x="1868" y="226"/>
              </a:cxn>
              <a:cxn ang="0">
                <a:pos x="1857" y="280"/>
              </a:cxn>
              <a:cxn ang="0">
                <a:pos x="1803" y="433"/>
              </a:cxn>
              <a:cxn ang="0">
                <a:pos x="1706" y="562"/>
              </a:cxn>
              <a:cxn ang="0">
                <a:pos x="1530" y="646"/>
              </a:cxn>
              <a:cxn ang="0">
                <a:pos x="1442" y="654"/>
              </a:cxn>
              <a:cxn ang="0">
                <a:pos x="1431" y="649"/>
              </a:cxn>
              <a:cxn ang="0">
                <a:pos x="1374" y="588"/>
              </a:cxn>
              <a:cxn ang="0">
                <a:pos x="1221" y="521"/>
              </a:cxn>
              <a:cxn ang="0">
                <a:pos x="1005" y="471"/>
              </a:cxn>
              <a:cxn ang="0">
                <a:pos x="680" y="410"/>
              </a:cxn>
              <a:cxn ang="0">
                <a:pos x="399" y="335"/>
              </a:cxn>
              <a:cxn ang="0">
                <a:pos x="173" y="224"/>
              </a:cxn>
              <a:cxn ang="0">
                <a:pos x="12" y="36"/>
              </a:cxn>
              <a:cxn ang="0">
                <a:pos x="1" y="0"/>
              </a:cxn>
              <a:cxn ang="0">
                <a:pos x="49" y="0"/>
              </a:cxn>
              <a:cxn ang="0">
                <a:pos x="1856" y="0"/>
              </a:cxn>
              <a:cxn ang="0">
                <a:pos x="1869" y="13"/>
              </a:cxn>
              <a:cxn ang="0">
                <a:pos x="1869" y="205"/>
              </a:cxn>
              <a:cxn ang="0">
                <a:pos x="1871" y="215"/>
              </a:cxn>
            </a:cxnLst>
            <a:rect l="0" t="0" r="r" b="b"/>
            <a:pathLst>
              <a:path w="1871" h="654">
                <a:moveTo>
                  <a:pt x="1871" y="215"/>
                </a:moveTo>
                <a:cubicBezTo>
                  <a:pt x="1871" y="217"/>
                  <a:pt x="1871" y="220"/>
                  <a:pt x="1871" y="223"/>
                </a:cubicBezTo>
                <a:cubicBezTo>
                  <a:pt x="1869" y="223"/>
                  <a:pt x="1869" y="225"/>
                  <a:pt x="1868" y="226"/>
                </a:cubicBezTo>
                <a:cubicBezTo>
                  <a:pt x="1865" y="244"/>
                  <a:pt x="1861" y="262"/>
                  <a:pt x="1857" y="280"/>
                </a:cubicBezTo>
                <a:cubicBezTo>
                  <a:pt x="1845" y="333"/>
                  <a:pt x="1828" y="384"/>
                  <a:pt x="1803" y="433"/>
                </a:cubicBezTo>
                <a:cubicBezTo>
                  <a:pt x="1778" y="482"/>
                  <a:pt x="1747" y="525"/>
                  <a:pt x="1706" y="562"/>
                </a:cubicBezTo>
                <a:cubicBezTo>
                  <a:pt x="1656" y="607"/>
                  <a:pt x="1597" y="635"/>
                  <a:pt x="1530" y="646"/>
                </a:cubicBezTo>
                <a:cubicBezTo>
                  <a:pt x="1501" y="652"/>
                  <a:pt x="1472" y="654"/>
                  <a:pt x="1442" y="654"/>
                </a:cubicBezTo>
                <a:cubicBezTo>
                  <a:pt x="1437" y="654"/>
                  <a:pt x="1434" y="653"/>
                  <a:pt x="1431" y="649"/>
                </a:cubicBezTo>
                <a:cubicBezTo>
                  <a:pt x="1417" y="623"/>
                  <a:pt x="1397" y="604"/>
                  <a:pt x="1374" y="588"/>
                </a:cubicBezTo>
                <a:cubicBezTo>
                  <a:pt x="1327" y="556"/>
                  <a:pt x="1274" y="537"/>
                  <a:pt x="1221" y="521"/>
                </a:cubicBezTo>
                <a:cubicBezTo>
                  <a:pt x="1150" y="500"/>
                  <a:pt x="1078" y="485"/>
                  <a:pt x="1005" y="471"/>
                </a:cubicBezTo>
                <a:cubicBezTo>
                  <a:pt x="897" y="450"/>
                  <a:pt x="788" y="432"/>
                  <a:pt x="680" y="410"/>
                </a:cubicBezTo>
                <a:cubicBezTo>
                  <a:pt x="585" y="390"/>
                  <a:pt x="490" y="367"/>
                  <a:pt x="399" y="335"/>
                </a:cubicBezTo>
                <a:cubicBezTo>
                  <a:pt x="319" y="307"/>
                  <a:pt x="243" y="272"/>
                  <a:pt x="173" y="224"/>
                </a:cubicBezTo>
                <a:cubicBezTo>
                  <a:pt x="104" y="175"/>
                  <a:pt x="47" y="114"/>
                  <a:pt x="12" y="36"/>
                </a:cubicBezTo>
                <a:cubicBezTo>
                  <a:pt x="7" y="24"/>
                  <a:pt x="0" y="13"/>
                  <a:pt x="1" y="0"/>
                </a:cubicBezTo>
                <a:cubicBezTo>
                  <a:pt x="17" y="0"/>
                  <a:pt x="33" y="0"/>
                  <a:pt x="49" y="0"/>
                </a:cubicBezTo>
                <a:cubicBezTo>
                  <a:pt x="651" y="0"/>
                  <a:pt x="1254" y="0"/>
                  <a:pt x="1856" y="0"/>
                </a:cubicBezTo>
                <a:cubicBezTo>
                  <a:pt x="1869" y="0"/>
                  <a:pt x="1869" y="0"/>
                  <a:pt x="1869" y="13"/>
                </a:cubicBezTo>
                <a:cubicBezTo>
                  <a:pt x="1869" y="77"/>
                  <a:pt x="1869" y="141"/>
                  <a:pt x="1869" y="205"/>
                </a:cubicBezTo>
                <a:cubicBezTo>
                  <a:pt x="1869" y="208"/>
                  <a:pt x="1868" y="212"/>
                  <a:pt x="1871" y="215"/>
                </a:cubicBezTo>
                <a:close/>
              </a:path>
            </a:pathLst>
          </a:custGeom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27349" y="-1"/>
            <a:ext cx="5975743" cy="186587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Click to edit Master title style</a:t>
            </a:r>
            <a:endParaRPr lang="en-GB" dirty="0"/>
          </a:p>
        </p:txBody>
      </p:sp>
      <p:sp>
        <p:nvSpPr>
          <p:cNvPr id="13" name="Freeform 13"/>
          <p:cNvSpPr/>
          <p:nvPr userDrawn="1"/>
        </p:nvSpPr>
        <p:spPr bwMode="auto">
          <a:xfrm>
            <a:off x="11644642" y="334376"/>
            <a:ext cx="275896" cy="226185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14" name="Freeform 14"/>
          <p:cNvSpPr/>
          <p:nvPr userDrawn="1"/>
        </p:nvSpPr>
        <p:spPr bwMode="auto">
          <a:xfrm>
            <a:off x="11501102" y="171573"/>
            <a:ext cx="419436" cy="356676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7712546" y="251439"/>
            <a:ext cx="3594084" cy="95324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227349" y="2085518"/>
            <a:ext cx="5988100" cy="428625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/>
          <p:nvPr userDrawn="1"/>
        </p:nvSpPr>
        <p:spPr bwMode="auto">
          <a:xfrm rot="10800000">
            <a:off x="-29210" y="5225415"/>
            <a:ext cx="4734560" cy="1655445"/>
          </a:xfrm>
          <a:custGeom>
            <a:avLst/>
            <a:gdLst/>
            <a:ahLst/>
            <a:cxnLst>
              <a:cxn ang="0">
                <a:pos x="1871" y="215"/>
              </a:cxn>
              <a:cxn ang="0">
                <a:pos x="1871" y="223"/>
              </a:cxn>
              <a:cxn ang="0">
                <a:pos x="1868" y="226"/>
              </a:cxn>
              <a:cxn ang="0">
                <a:pos x="1857" y="280"/>
              </a:cxn>
              <a:cxn ang="0">
                <a:pos x="1803" y="433"/>
              </a:cxn>
              <a:cxn ang="0">
                <a:pos x="1706" y="562"/>
              </a:cxn>
              <a:cxn ang="0">
                <a:pos x="1530" y="646"/>
              </a:cxn>
              <a:cxn ang="0">
                <a:pos x="1442" y="654"/>
              </a:cxn>
              <a:cxn ang="0">
                <a:pos x="1431" y="649"/>
              </a:cxn>
              <a:cxn ang="0">
                <a:pos x="1374" y="588"/>
              </a:cxn>
              <a:cxn ang="0">
                <a:pos x="1221" y="521"/>
              </a:cxn>
              <a:cxn ang="0">
                <a:pos x="1005" y="471"/>
              </a:cxn>
              <a:cxn ang="0">
                <a:pos x="680" y="410"/>
              </a:cxn>
              <a:cxn ang="0">
                <a:pos x="399" y="335"/>
              </a:cxn>
              <a:cxn ang="0">
                <a:pos x="173" y="224"/>
              </a:cxn>
              <a:cxn ang="0">
                <a:pos x="12" y="36"/>
              </a:cxn>
              <a:cxn ang="0">
                <a:pos x="1" y="0"/>
              </a:cxn>
              <a:cxn ang="0">
                <a:pos x="49" y="0"/>
              </a:cxn>
              <a:cxn ang="0">
                <a:pos x="1856" y="0"/>
              </a:cxn>
              <a:cxn ang="0">
                <a:pos x="1869" y="13"/>
              </a:cxn>
              <a:cxn ang="0">
                <a:pos x="1869" y="205"/>
              </a:cxn>
              <a:cxn ang="0">
                <a:pos x="1871" y="215"/>
              </a:cxn>
            </a:cxnLst>
            <a:rect l="0" t="0" r="r" b="b"/>
            <a:pathLst>
              <a:path w="1871" h="654">
                <a:moveTo>
                  <a:pt x="1871" y="215"/>
                </a:moveTo>
                <a:cubicBezTo>
                  <a:pt x="1871" y="217"/>
                  <a:pt x="1871" y="220"/>
                  <a:pt x="1871" y="223"/>
                </a:cubicBezTo>
                <a:cubicBezTo>
                  <a:pt x="1869" y="223"/>
                  <a:pt x="1869" y="225"/>
                  <a:pt x="1868" y="226"/>
                </a:cubicBezTo>
                <a:cubicBezTo>
                  <a:pt x="1865" y="244"/>
                  <a:pt x="1861" y="262"/>
                  <a:pt x="1857" y="280"/>
                </a:cubicBezTo>
                <a:cubicBezTo>
                  <a:pt x="1845" y="333"/>
                  <a:pt x="1828" y="384"/>
                  <a:pt x="1803" y="433"/>
                </a:cubicBezTo>
                <a:cubicBezTo>
                  <a:pt x="1778" y="482"/>
                  <a:pt x="1747" y="525"/>
                  <a:pt x="1706" y="562"/>
                </a:cubicBezTo>
                <a:cubicBezTo>
                  <a:pt x="1656" y="607"/>
                  <a:pt x="1597" y="635"/>
                  <a:pt x="1530" y="646"/>
                </a:cubicBezTo>
                <a:cubicBezTo>
                  <a:pt x="1501" y="652"/>
                  <a:pt x="1472" y="654"/>
                  <a:pt x="1442" y="654"/>
                </a:cubicBezTo>
                <a:cubicBezTo>
                  <a:pt x="1437" y="654"/>
                  <a:pt x="1434" y="653"/>
                  <a:pt x="1431" y="649"/>
                </a:cubicBezTo>
                <a:cubicBezTo>
                  <a:pt x="1417" y="623"/>
                  <a:pt x="1397" y="604"/>
                  <a:pt x="1374" y="588"/>
                </a:cubicBezTo>
                <a:cubicBezTo>
                  <a:pt x="1327" y="556"/>
                  <a:pt x="1274" y="537"/>
                  <a:pt x="1221" y="521"/>
                </a:cubicBezTo>
                <a:cubicBezTo>
                  <a:pt x="1150" y="500"/>
                  <a:pt x="1078" y="485"/>
                  <a:pt x="1005" y="471"/>
                </a:cubicBezTo>
                <a:cubicBezTo>
                  <a:pt x="897" y="450"/>
                  <a:pt x="788" y="432"/>
                  <a:pt x="680" y="410"/>
                </a:cubicBezTo>
                <a:cubicBezTo>
                  <a:pt x="585" y="390"/>
                  <a:pt x="490" y="367"/>
                  <a:pt x="399" y="335"/>
                </a:cubicBezTo>
                <a:cubicBezTo>
                  <a:pt x="319" y="307"/>
                  <a:pt x="243" y="272"/>
                  <a:pt x="173" y="224"/>
                </a:cubicBezTo>
                <a:cubicBezTo>
                  <a:pt x="104" y="175"/>
                  <a:pt x="47" y="114"/>
                  <a:pt x="12" y="36"/>
                </a:cubicBezTo>
                <a:cubicBezTo>
                  <a:pt x="7" y="24"/>
                  <a:pt x="0" y="13"/>
                  <a:pt x="1" y="0"/>
                </a:cubicBezTo>
                <a:cubicBezTo>
                  <a:pt x="17" y="0"/>
                  <a:pt x="33" y="0"/>
                  <a:pt x="49" y="0"/>
                </a:cubicBezTo>
                <a:cubicBezTo>
                  <a:pt x="651" y="0"/>
                  <a:pt x="1254" y="0"/>
                  <a:pt x="1856" y="0"/>
                </a:cubicBezTo>
                <a:cubicBezTo>
                  <a:pt x="1869" y="0"/>
                  <a:pt x="1869" y="0"/>
                  <a:pt x="1869" y="13"/>
                </a:cubicBezTo>
                <a:cubicBezTo>
                  <a:pt x="1869" y="77"/>
                  <a:pt x="1869" y="141"/>
                  <a:pt x="1869" y="205"/>
                </a:cubicBezTo>
                <a:cubicBezTo>
                  <a:pt x="1869" y="208"/>
                  <a:pt x="1868" y="212"/>
                  <a:pt x="1871" y="2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3"/>
          <p:cNvSpPr/>
          <p:nvPr userDrawn="1"/>
        </p:nvSpPr>
        <p:spPr bwMode="auto">
          <a:xfrm>
            <a:off x="11644642" y="334376"/>
            <a:ext cx="275896" cy="226185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14" name="Freeform 14"/>
          <p:cNvSpPr/>
          <p:nvPr userDrawn="1"/>
        </p:nvSpPr>
        <p:spPr bwMode="auto">
          <a:xfrm>
            <a:off x="11501102" y="171573"/>
            <a:ext cx="419436" cy="356676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/>
          <p:nvPr userDrawn="1"/>
        </p:nvSpPr>
        <p:spPr bwMode="auto">
          <a:xfrm>
            <a:off x="7401560" y="-6985"/>
            <a:ext cx="4790440" cy="1674712"/>
          </a:xfrm>
          <a:custGeom>
            <a:avLst/>
            <a:gdLst/>
            <a:ahLst/>
            <a:cxnLst>
              <a:cxn ang="0">
                <a:pos x="1871" y="215"/>
              </a:cxn>
              <a:cxn ang="0">
                <a:pos x="1871" y="223"/>
              </a:cxn>
              <a:cxn ang="0">
                <a:pos x="1868" y="226"/>
              </a:cxn>
              <a:cxn ang="0">
                <a:pos x="1857" y="280"/>
              </a:cxn>
              <a:cxn ang="0">
                <a:pos x="1803" y="433"/>
              </a:cxn>
              <a:cxn ang="0">
                <a:pos x="1706" y="562"/>
              </a:cxn>
              <a:cxn ang="0">
                <a:pos x="1530" y="646"/>
              </a:cxn>
              <a:cxn ang="0">
                <a:pos x="1442" y="654"/>
              </a:cxn>
              <a:cxn ang="0">
                <a:pos x="1431" y="649"/>
              </a:cxn>
              <a:cxn ang="0">
                <a:pos x="1374" y="588"/>
              </a:cxn>
              <a:cxn ang="0">
                <a:pos x="1221" y="521"/>
              </a:cxn>
              <a:cxn ang="0">
                <a:pos x="1005" y="471"/>
              </a:cxn>
              <a:cxn ang="0">
                <a:pos x="680" y="410"/>
              </a:cxn>
              <a:cxn ang="0">
                <a:pos x="399" y="335"/>
              </a:cxn>
              <a:cxn ang="0">
                <a:pos x="173" y="224"/>
              </a:cxn>
              <a:cxn ang="0">
                <a:pos x="12" y="36"/>
              </a:cxn>
              <a:cxn ang="0">
                <a:pos x="1" y="0"/>
              </a:cxn>
              <a:cxn ang="0">
                <a:pos x="49" y="0"/>
              </a:cxn>
              <a:cxn ang="0">
                <a:pos x="1856" y="0"/>
              </a:cxn>
              <a:cxn ang="0">
                <a:pos x="1869" y="13"/>
              </a:cxn>
              <a:cxn ang="0">
                <a:pos x="1869" y="205"/>
              </a:cxn>
              <a:cxn ang="0">
                <a:pos x="1871" y="215"/>
              </a:cxn>
            </a:cxnLst>
            <a:rect l="0" t="0" r="r" b="b"/>
            <a:pathLst>
              <a:path w="1871" h="654">
                <a:moveTo>
                  <a:pt x="1871" y="215"/>
                </a:moveTo>
                <a:cubicBezTo>
                  <a:pt x="1871" y="217"/>
                  <a:pt x="1871" y="220"/>
                  <a:pt x="1871" y="223"/>
                </a:cubicBezTo>
                <a:cubicBezTo>
                  <a:pt x="1869" y="223"/>
                  <a:pt x="1869" y="225"/>
                  <a:pt x="1868" y="226"/>
                </a:cubicBezTo>
                <a:cubicBezTo>
                  <a:pt x="1865" y="244"/>
                  <a:pt x="1861" y="262"/>
                  <a:pt x="1857" y="280"/>
                </a:cubicBezTo>
                <a:cubicBezTo>
                  <a:pt x="1845" y="333"/>
                  <a:pt x="1828" y="384"/>
                  <a:pt x="1803" y="433"/>
                </a:cubicBezTo>
                <a:cubicBezTo>
                  <a:pt x="1778" y="482"/>
                  <a:pt x="1747" y="525"/>
                  <a:pt x="1706" y="562"/>
                </a:cubicBezTo>
                <a:cubicBezTo>
                  <a:pt x="1656" y="607"/>
                  <a:pt x="1597" y="635"/>
                  <a:pt x="1530" y="646"/>
                </a:cubicBezTo>
                <a:cubicBezTo>
                  <a:pt x="1501" y="652"/>
                  <a:pt x="1472" y="654"/>
                  <a:pt x="1442" y="654"/>
                </a:cubicBezTo>
                <a:cubicBezTo>
                  <a:pt x="1437" y="654"/>
                  <a:pt x="1434" y="653"/>
                  <a:pt x="1431" y="649"/>
                </a:cubicBezTo>
                <a:cubicBezTo>
                  <a:pt x="1417" y="623"/>
                  <a:pt x="1397" y="604"/>
                  <a:pt x="1374" y="588"/>
                </a:cubicBezTo>
                <a:cubicBezTo>
                  <a:pt x="1327" y="556"/>
                  <a:pt x="1274" y="537"/>
                  <a:pt x="1221" y="521"/>
                </a:cubicBezTo>
                <a:cubicBezTo>
                  <a:pt x="1150" y="500"/>
                  <a:pt x="1078" y="485"/>
                  <a:pt x="1005" y="471"/>
                </a:cubicBezTo>
                <a:cubicBezTo>
                  <a:pt x="897" y="450"/>
                  <a:pt x="788" y="432"/>
                  <a:pt x="680" y="410"/>
                </a:cubicBezTo>
                <a:cubicBezTo>
                  <a:pt x="585" y="390"/>
                  <a:pt x="490" y="367"/>
                  <a:pt x="399" y="335"/>
                </a:cubicBezTo>
                <a:cubicBezTo>
                  <a:pt x="319" y="307"/>
                  <a:pt x="243" y="272"/>
                  <a:pt x="173" y="224"/>
                </a:cubicBezTo>
                <a:cubicBezTo>
                  <a:pt x="104" y="175"/>
                  <a:pt x="47" y="114"/>
                  <a:pt x="12" y="36"/>
                </a:cubicBezTo>
                <a:cubicBezTo>
                  <a:pt x="7" y="24"/>
                  <a:pt x="0" y="13"/>
                  <a:pt x="1" y="0"/>
                </a:cubicBezTo>
                <a:cubicBezTo>
                  <a:pt x="17" y="0"/>
                  <a:pt x="33" y="0"/>
                  <a:pt x="49" y="0"/>
                </a:cubicBezTo>
                <a:cubicBezTo>
                  <a:pt x="651" y="0"/>
                  <a:pt x="1254" y="0"/>
                  <a:pt x="1856" y="0"/>
                </a:cubicBezTo>
                <a:cubicBezTo>
                  <a:pt x="1869" y="0"/>
                  <a:pt x="1869" y="0"/>
                  <a:pt x="1869" y="13"/>
                </a:cubicBezTo>
                <a:cubicBezTo>
                  <a:pt x="1869" y="77"/>
                  <a:pt x="1869" y="141"/>
                  <a:pt x="1869" y="205"/>
                </a:cubicBezTo>
                <a:cubicBezTo>
                  <a:pt x="1869" y="208"/>
                  <a:pt x="1868" y="212"/>
                  <a:pt x="1871" y="215"/>
                </a:cubicBezTo>
                <a:close/>
              </a:path>
            </a:pathLst>
          </a:custGeom>
          <a:solidFill>
            <a:srgbClr val="2B143D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grpSp>
        <p:nvGrpSpPr>
          <p:cNvPr id="6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7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8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" name="矩形 1"/>
          <p:cNvSpPr/>
          <p:nvPr userDrawn="1"/>
        </p:nvSpPr>
        <p:spPr>
          <a:xfrm>
            <a:off x="11208385" y="45085"/>
            <a:ext cx="864235" cy="72009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5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7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8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8"/>
          <p:cNvGrpSpPr/>
          <p:nvPr userDrawn="1"/>
        </p:nvGrpSpPr>
        <p:grpSpPr>
          <a:xfrm>
            <a:off x="5474198" y="1"/>
            <a:ext cx="6717802" cy="6879906"/>
            <a:chOff x="5301197" y="14514"/>
            <a:chExt cx="6689458" cy="6850879"/>
          </a:xfrm>
          <a:solidFill>
            <a:schemeClr val="accent4"/>
          </a:solidFill>
        </p:grpSpPr>
        <p:sp>
          <p:nvSpPr>
            <p:cNvPr id="4" name="Freeform 6"/>
            <p:cNvSpPr/>
            <p:nvPr userDrawn="1"/>
          </p:nvSpPr>
          <p:spPr bwMode="auto">
            <a:xfrm>
              <a:off x="5301197" y="3070823"/>
              <a:ext cx="6689458" cy="3794570"/>
            </a:xfrm>
            <a:custGeom>
              <a:avLst/>
              <a:gdLst/>
              <a:ahLst/>
              <a:cxnLst>
                <a:cxn ang="0">
                  <a:pos x="0" y="404"/>
                </a:cxn>
                <a:cxn ang="0">
                  <a:pos x="33" y="354"/>
                </a:cxn>
                <a:cxn ang="0">
                  <a:pos x="81" y="284"/>
                </a:cxn>
                <a:cxn ang="0">
                  <a:pos x="100" y="262"/>
                </a:cxn>
                <a:cxn ang="0">
                  <a:pos x="151" y="203"/>
                </a:cxn>
                <a:cxn ang="0">
                  <a:pos x="173" y="183"/>
                </a:cxn>
                <a:cxn ang="0">
                  <a:pos x="206" y="151"/>
                </a:cxn>
                <a:cxn ang="0">
                  <a:pos x="253" y="116"/>
                </a:cxn>
                <a:cxn ang="0">
                  <a:pos x="331" y="68"/>
                </a:cxn>
                <a:cxn ang="0">
                  <a:pos x="465" y="19"/>
                </a:cxn>
                <a:cxn ang="0">
                  <a:pos x="664" y="5"/>
                </a:cxn>
                <a:cxn ang="0">
                  <a:pos x="840" y="32"/>
                </a:cxn>
                <a:cxn ang="0">
                  <a:pos x="911" y="52"/>
                </a:cxn>
                <a:cxn ang="0">
                  <a:pos x="1026" y="92"/>
                </a:cxn>
                <a:cxn ang="0">
                  <a:pos x="1070" y="109"/>
                </a:cxn>
                <a:cxn ang="0">
                  <a:pos x="1149" y="144"/>
                </a:cxn>
                <a:cxn ang="0">
                  <a:pos x="1191" y="164"/>
                </a:cxn>
                <a:cxn ang="0">
                  <a:pos x="1272" y="205"/>
                </a:cxn>
                <a:cxn ang="0">
                  <a:pos x="1313" y="225"/>
                </a:cxn>
                <a:cxn ang="0">
                  <a:pos x="1399" y="273"/>
                </a:cxn>
                <a:cxn ang="0">
                  <a:pos x="1462" y="310"/>
                </a:cxn>
                <a:cxn ang="0">
                  <a:pos x="1515" y="341"/>
                </a:cxn>
                <a:cxn ang="0">
                  <a:pos x="1587" y="384"/>
                </a:cxn>
                <a:cxn ang="0">
                  <a:pos x="1633" y="414"/>
                </a:cxn>
                <a:cxn ang="0">
                  <a:pos x="1703" y="457"/>
                </a:cxn>
                <a:cxn ang="0">
                  <a:pos x="1770" y="498"/>
                </a:cxn>
                <a:cxn ang="0">
                  <a:pos x="1799" y="514"/>
                </a:cxn>
                <a:cxn ang="0">
                  <a:pos x="1894" y="569"/>
                </a:cxn>
                <a:cxn ang="0">
                  <a:pos x="2007" y="628"/>
                </a:cxn>
                <a:cxn ang="0">
                  <a:pos x="2087" y="668"/>
                </a:cxn>
                <a:cxn ang="0">
                  <a:pos x="2132" y="689"/>
                </a:cxn>
                <a:cxn ang="0">
                  <a:pos x="2208" y="724"/>
                </a:cxn>
                <a:cxn ang="0">
                  <a:pos x="2270" y="750"/>
                </a:cxn>
                <a:cxn ang="0">
                  <a:pos x="2336" y="777"/>
                </a:cxn>
                <a:cxn ang="0">
                  <a:pos x="2414" y="806"/>
                </a:cxn>
                <a:cxn ang="0">
                  <a:pos x="2523" y="843"/>
                </a:cxn>
                <a:cxn ang="0">
                  <a:pos x="2599" y="866"/>
                </a:cxn>
                <a:cxn ang="0">
                  <a:pos x="2713" y="894"/>
                </a:cxn>
                <a:cxn ang="0">
                  <a:pos x="2805" y="910"/>
                </a:cxn>
                <a:cxn ang="0">
                  <a:pos x="2812" y="910"/>
                </a:cxn>
                <a:cxn ang="0">
                  <a:pos x="2812" y="1597"/>
                </a:cxn>
                <a:cxn ang="0">
                  <a:pos x="2802" y="1597"/>
                </a:cxn>
                <a:cxn ang="0">
                  <a:pos x="896" y="1597"/>
                </a:cxn>
                <a:cxn ang="0">
                  <a:pos x="194" y="1597"/>
                </a:cxn>
                <a:cxn ang="0">
                  <a:pos x="186" y="1596"/>
                </a:cxn>
                <a:cxn ang="0">
                  <a:pos x="219" y="1567"/>
                </a:cxn>
                <a:cxn ang="0">
                  <a:pos x="285" y="1465"/>
                </a:cxn>
                <a:cxn ang="0">
                  <a:pos x="308" y="1363"/>
                </a:cxn>
                <a:cxn ang="0">
                  <a:pos x="305" y="1206"/>
                </a:cxn>
                <a:cxn ang="0">
                  <a:pos x="278" y="1067"/>
                </a:cxn>
                <a:cxn ang="0">
                  <a:pos x="253" y="977"/>
                </a:cxn>
                <a:cxn ang="0">
                  <a:pos x="217" y="872"/>
                </a:cxn>
                <a:cxn ang="0">
                  <a:pos x="191" y="802"/>
                </a:cxn>
                <a:cxn ang="0">
                  <a:pos x="153" y="713"/>
                </a:cxn>
                <a:cxn ang="0">
                  <a:pos x="104" y="605"/>
                </a:cxn>
                <a:cxn ang="0">
                  <a:pos x="91" y="581"/>
                </a:cxn>
                <a:cxn ang="0">
                  <a:pos x="58" y="514"/>
                </a:cxn>
                <a:cxn ang="0">
                  <a:pos x="3" y="411"/>
                </a:cxn>
                <a:cxn ang="0">
                  <a:pos x="0" y="407"/>
                </a:cxn>
                <a:cxn ang="0">
                  <a:pos x="0" y="404"/>
                </a:cxn>
              </a:cxnLst>
              <a:rect l="0" t="0" r="r" b="b"/>
              <a:pathLst>
                <a:path w="2812" h="1597">
                  <a:moveTo>
                    <a:pt x="0" y="404"/>
                  </a:moveTo>
                  <a:cubicBezTo>
                    <a:pt x="10" y="387"/>
                    <a:pt x="21" y="370"/>
                    <a:pt x="33" y="354"/>
                  </a:cubicBezTo>
                  <a:cubicBezTo>
                    <a:pt x="48" y="330"/>
                    <a:pt x="66" y="307"/>
                    <a:pt x="81" y="284"/>
                  </a:cubicBezTo>
                  <a:cubicBezTo>
                    <a:pt x="86" y="276"/>
                    <a:pt x="93" y="269"/>
                    <a:pt x="100" y="262"/>
                  </a:cubicBezTo>
                  <a:cubicBezTo>
                    <a:pt x="117" y="242"/>
                    <a:pt x="133" y="221"/>
                    <a:pt x="151" y="203"/>
                  </a:cubicBezTo>
                  <a:cubicBezTo>
                    <a:pt x="158" y="196"/>
                    <a:pt x="165" y="189"/>
                    <a:pt x="173" y="183"/>
                  </a:cubicBezTo>
                  <a:cubicBezTo>
                    <a:pt x="184" y="173"/>
                    <a:pt x="194" y="161"/>
                    <a:pt x="206" y="151"/>
                  </a:cubicBezTo>
                  <a:cubicBezTo>
                    <a:pt x="222" y="140"/>
                    <a:pt x="238" y="128"/>
                    <a:pt x="253" y="116"/>
                  </a:cubicBezTo>
                  <a:cubicBezTo>
                    <a:pt x="277" y="96"/>
                    <a:pt x="304" y="82"/>
                    <a:pt x="331" y="68"/>
                  </a:cubicBezTo>
                  <a:cubicBezTo>
                    <a:pt x="373" y="45"/>
                    <a:pt x="418" y="29"/>
                    <a:pt x="465" y="19"/>
                  </a:cubicBezTo>
                  <a:cubicBezTo>
                    <a:pt x="531" y="4"/>
                    <a:pt x="597" y="0"/>
                    <a:pt x="664" y="5"/>
                  </a:cubicBezTo>
                  <a:cubicBezTo>
                    <a:pt x="723" y="8"/>
                    <a:pt x="782" y="18"/>
                    <a:pt x="840" y="32"/>
                  </a:cubicBezTo>
                  <a:cubicBezTo>
                    <a:pt x="864" y="38"/>
                    <a:pt x="888" y="43"/>
                    <a:pt x="911" y="52"/>
                  </a:cubicBezTo>
                  <a:cubicBezTo>
                    <a:pt x="949" y="65"/>
                    <a:pt x="988" y="77"/>
                    <a:pt x="1026" y="92"/>
                  </a:cubicBezTo>
                  <a:cubicBezTo>
                    <a:pt x="1041" y="98"/>
                    <a:pt x="1056" y="103"/>
                    <a:pt x="1070" y="109"/>
                  </a:cubicBezTo>
                  <a:cubicBezTo>
                    <a:pt x="1096" y="122"/>
                    <a:pt x="1123" y="132"/>
                    <a:pt x="1149" y="144"/>
                  </a:cubicBezTo>
                  <a:cubicBezTo>
                    <a:pt x="1163" y="151"/>
                    <a:pt x="1177" y="157"/>
                    <a:pt x="1191" y="164"/>
                  </a:cubicBezTo>
                  <a:cubicBezTo>
                    <a:pt x="1218" y="177"/>
                    <a:pt x="1245" y="191"/>
                    <a:pt x="1272" y="205"/>
                  </a:cubicBezTo>
                  <a:cubicBezTo>
                    <a:pt x="1286" y="212"/>
                    <a:pt x="1300" y="218"/>
                    <a:pt x="1313" y="225"/>
                  </a:cubicBezTo>
                  <a:cubicBezTo>
                    <a:pt x="1341" y="243"/>
                    <a:pt x="1371" y="256"/>
                    <a:pt x="1399" y="273"/>
                  </a:cubicBezTo>
                  <a:cubicBezTo>
                    <a:pt x="1420" y="286"/>
                    <a:pt x="1441" y="298"/>
                    <a:pt x="1462" y="310"/>
                  </a:cubicBezTo>
                  <a:cubicBezTo>
                    <a:pt x="1480" y="320"/>
                    <a:pt x="1498" y="330"/>
                    <a:pt x="1515" y="341"/>
                  </a:cubicBezTo>
                  <a:cubicBezTo>
                    <a:pt x="1539" y="355"/>
                    <a:pt x="1562" y="371"/>
                    <a:pt x="1587" y="384"/>
                  </a:cubicBezTo>
                  <a:cubicBezTo>
                    <a:pt x="1603" y="394"/>
                    <a:pt x="1617" y="405"/>
                    <a:pt x="1633" y="414"/>
                  </a:cubicBezTo>
                  <a:cubicBezTo>
                    <a:pt x="1656" y="429"/>
                    <a:pt x="1680" y="442"/>
                    <a:pt x="1703" y="457"/>
                  </a:cubicBezTo>
                  <a:cubicBezTo>
                    <a:pt x="1725" y="471"/>
                    <a:pt x="1747" y="485"/>
                    <a:pt x="1770" y="498"/>
                  </a:cubicBezTo>
                  <a:cubicBezTo>
                    <a:pt x="1780" y="504"/>
                    <a:pt x="1790" y="508"/>
                    <a:pt x="1799" y="514"/>
                  </a:cubicBezTo>
                  <a:cubicBezTo>
                    <a:pt x="1829" y="535"/>
                    <a:pt x="1863" y="550"/>
                    <a:pt x="1894" y="569"/>
                  </a:cubicBezTo>
                  <a:cubicBezTo>
                    <a:pt x="1931" y="590"/>
                    <a:pt x="1969" y="608"/>
                    <a:pt x="2007" y="628"/>
                  </a:cubicBezTo>
                  <a:cubicBezTo>
                    <a:pt x="2033" y="642"/>
                    <a:pt x="2060" y="655"/>
                    <a:pt x="2087" y="668"/>
                  </a:cubicBezTo>
                  <a:cubicBezTo>
                    <a:pt x="2102" y="675"/>
                    <a:pt x="2118" y="681"/>
                    <a:pt x="2132" y="689"/>
                  </a:cubicBezTo>
                  <a:cubicBezTo>
                    <a:pt x="2157" y="702"/>
                    <a:pt x="2183" y="712"/>
                    <a:pt x="2208" y="724"/>
                  </a:cubicBezTo>
                  <a:cubicBezTo>
                    <a:pt x="2229" y="733"/>
                    <a:pt x="2250" y="740"/>
                    <a:pt x="2270" y="750"/>
                  </a:cubicBezTo>
                  <a:cubicBezTo>
                    <a:pt x="2292" y="760"/>
                    <a:pt x="2314" y="768"/>
                    <a:pt x="2336" y="777"/>
                  </a:cubicBezTo>
                  <a:cubicBezTo>
                    <a:pt x="2362" y="787"/>
                    <a:pt x="2389" y="795"/>
                    <a:pt x="2414" y="806"/>
                  </a:cubicBezTo>
                  <a:cubicBezTo>
                    <a:pt x="2450" y="821"/>
                    <a:pt x="2486" y="832"/>
                    <a:pt x="2523" y="843"/>
                  </a:cubicBezTo>
                  <a:cubicBezTo>
                    <a:pt x="2548" y="851"/>
                    <a:pt x="2574" y="858"/>
                    <a:pt x="2599" y="866"/>
                  </a:cubicBezTo>
                  <a:cubicBezTo>
                    <a:pt x="2637" y="878"/>
                    <a:pt x="2675" y="886"/>
                    <a:pt x="2713" y="894"/>
                  </a:cubicBezTo>
                  <a:cubicBezTo>
                    <a:pt x="2744" y="901"/>
                    <a:pt x="2774" y="906"/>
                    <a:pt x="2805" y="910"/>
                  </a:cubicBezTo>
                  <a:cubicBezTo>
                    <a:pt x="2807" y="910"/>
                    <a:pt x="2810" y="910"/>
                    <a:pt x="2812" y="910"/>
                  </a:cubicBezTo>
                  <a:cubicBezTo>
                    <a:pt x="2812" y="1139"/>
                    <a:pt x="2812" y="1368"/>
                    <a:pt x="2812" y="1597"/>
                  </a:cubicBezTo>
                  <a:cubicBezTo>
                    <a:pt x="2809" y="1596"/>
                    <a:pt x="2805" y="1597"/>
                    <a:pt x="2802" y="1597"/>
                  </a:cubicBezTo>
                  <a:cubicBezTo>
                    <a:pt x="2167" y="1597"/>
                    <a:pt x="1531" y="1597"/>
                    <a:pt x="896" y="1597"/>
                  </a:cubicBezTo>
                  <a:cubicBezTo>
                    <a:pt x="662" y="1597"/>
                    <a:pt x="428" y="1597"/>
                    <a:pt x="194" y="1597"/>
                  </a:cubicBezTo>
                  <a:cubicBezTo>
                    <a:pt x="192" y="1597"/>
                    <a:pt x="189" y="1597"/>
                    <a:pt x="186" y="1596"/>
                  </a:cubicBezTo>
                  <a:cubicBezTo>
                    <a:pt x="198" y="1586"/>
                    <a:pt x="208" y="1577"/>
                    <a:pt x="219" y="1567"/>
                  </a:cubicBezTo>
                  <a:cubicBezTo>
                    <a:pt x="250" y="1539"/>
                    <a:pt x="269" y="1502"/>
                    <a:pt x="285" y="1465"/>
                  </a:cubicBezTo>
                  <a:cubicBezTo>
                    <a:pt x="298" y="1432"/>
                    <a:pt x="304" y="1398"/>
                    <a:pt x="308" y="1363"/>
                  </a:cubicBezTo>
                  <a:cubicBezTo>
                    <a:pt x="313" y="1310"/>
                    <a:pt x="311" y="1258"/>
                    <a:pt x="305" y="1206"/>
                  </a:cubicBezTo>
                  <a:cubicBezTo>
                    <a:pt x="299" y="1159"/>
                    <a:pt x="291" y="1112"/>
                    <a:pt x="278" y="1067"/>
                  </a:cubicBezTo>
                  <a:cubicBezTo>
                    <a:pt x="269" y="1037"/>
                    <a:pt x="263" y="1006"/>
                    <a:pt x="253" y="977"/>
                  </a:cubicBezTo>
                  <a:cubicBezTo>
                    <a:pt x="242" y="942"/>
                    <a:pt x="232" y="906"/>
                    <a:pt x="217" y="872"/>
                  </a:cubicBezTo>
                  <a:cubicBezTo>
                    <a:pt x="208" y="849"/>
                    <a:pt x="200" y="825"/>
                    <a:pt x="191" y="802"/>
                  </a:cubicBezTo>
                  <a:cubicBezTo>
                    <a:pt x="178" y="772"/>
                    <a:pt x="167" y="742"/>
                    <a:pt x="153" y="713"/>
                  </a:cubicBezTo>
                  <a:cubicBezTo>
                    <a:pt x="136" y="677"/>
                    <a:pt x="120" y="641"/>
                    <a:pt x="104" y="605"/>
                  </a:cubicBezTo>
                  <a:cubicBezTo>
                    <a:pt x="100" y="597"/>
                    <a:pt x="95" y="589"/>
                    <a:pt x="91" y="581"/>
                  </a:cubicBezTo>
                  <a:cubicBezTo>
                    <a:pt x="81" y="558"/>
                    <a:pt x="69" y="536"/>
                    <a:pt x="58" y="514"/>
                  </a:cubicBezTo>
                  <a:cubicBezTo>
                    <a:pt x="41" y="479"/>
                    <a:pt x="21" y="445"/>
                    <a:pt x="3" y="411"/>
                  </a:cubicBezTo>
                  <a:cubicBezTo>
                    <a:pt x="2" y="409"/>
                    <a:pt x="2" y="407"/>
                    <a:pt x="0" y="407"/>
                  </a:cubicBezTo>
                  <a:cubicBezTo>
                    <a:pt x="0" y="406"/>
                    <a:pt x="0" y="405"/>
                    <a:pt x="0" y="404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5" name="Freeform 7"/>
            <p:cNvSpPr/>
            <p:nvPr userDrawn="1"/>
          </p:nvSpPr>
          <p:spPr bwMode="auto">
            <a:xfrm>
              <a:off x="10041739" y="14514"/>
              <a:ext cx="1948916" cy="3234346"/>
            </a:xfrm>
            <a:custGeom>
              <a:avLst/>
              <a:gdLst/>
              <a:ahLst/>
              <a:cxnLst>
                <a:cxn ang="0">
                  <a:pos x="819" y="1361"/>
                </a:cxn>
                <a:cxn ang="0">
                  <a:pos x="799" y="1335"/>
                </a:cxn>
                <a:cxn ang="0">
                  <a:pos x="765" y="1294"/>
                </a:cxn>
                <a:cxn ang="0">
                  <a:pos x="730" y="1249"/>
                </a:cxn>
                <a:cxn ang="0">
                  <a:pos x="666" y="1172"/>
                </a:cxn>
                <a:cxn ang="0">
                  <a:pos x="618" y="1113"/>
                </a:cxn>
                <a:cxn ang="0">
                  <a:pos x="571" y="1054"/>
                </a:cxn>
                <a:cxn ang="0">
                  <a:pos x="545" y="1019"/>
                </a:cxn>
                <a:cxn ang="0">
                  <a:pos x="485" y="940"/>
                </a:cxn>
                <a:cxn ang="0">
                  <a:pos x="442" y="881"/>
                </a:cxn>
                <a:cxn ang="0">
                  <a:pos x="420" y="849"/>
                </a:cxn>
                <a:cxn ang="0">
                  <a:pos x="363" y="765"/>
                </a:cxn>
                <a:cxn ang="0">
                  <a:pos x="323" y="705"/>
                </a:cxn>
                <a:cxn ang="0">
                  <a:pos x="294" y="658"/>
                </a:cxn>
                <a:cxn ang="0">
                  <a:pos x="254" y="591"/>
                </a:cxn>
                <a:cxn ang="0">
                  <a:pos x="231" y="550"/>
                </a:cxn>
                <a:cxn ang="0">
                  <a:pos x="189" y="475"/>
                </a:cxn>
                <a:cxn ang="0">
                  <a:pos x="168" y="433"/>
                </a:cxn>
                <a:cxn ang="0">
                  <a:pos x="134" y="364"/>
                </a:cxn>
                <a:cxn ang="0">
                  <a:pos x="104" y="299"/>
                </a:cxn>
                <a:cxn ang="0">
                  <a:pos x="57" y="181"/>
                </a:cxn>
                <a:cxn ang="0">
                  <a:pos x="40" y="135"/>
                </a:cxn>
                <a:cxn ang="0">
                  <a:pos x="1" y="5"/>
                </a:cxn>
                <a:cxn ang="0">
                  <a:pos x="0" y="0"/>
                </a:cxn>
                <a:cxn ang="0">
                  <a:pos x="812" y="0"/>
                </a:cxn>
                <a:cxn ang="0">
                  <a:pos x="819" y="6"/>
                </a:cxn>
                <a:cxn ang="0">
                  <a:pos x="819" y="1361"/>
                </a:cxn>
              </a:cxnLst>
              <a:rect l="0" t="0" r="r" b="b"/>
              <a:pathLst>
                <a:path w="819" h="1361">
                  <a:moveTo>
                    <a:pt x="819" y="1361"/>
                  </a:moveTo>
                  <a:cubicBezTo>
                    <a:pt x="812" y="1353"/>
                    <a:pt x="806" y="1344"/>
                    <a:pt x="799" y="1335"/>
                  </a:cubicBezTo>
                  <a:cubicBezTo>
                    <a:pt x="788" y="1321"/>
                    <a:pt x="776" y="1308"/>
                    <a:pt x="765" y="1294"/>
                  </a:cubicBezTo>
                  <a:cubicBezTo>
                    <a:pt x="754" y="1279"/>
                    <a:pt x="743" y="1263"/>
                    <a:pt x="730" y="1249"/>
                  </a:cubicBezTo>
                  <a:cubicBezTo>
                    <a:pt x="707" y="1224"/>
                    <a:pt x="688" y="1197"/>
                    <a:pt x="666" y="1172"/>
                  </a:cubicBezTo>
                  <a:cubicBezTo>
                    <a:pt x="650" y="1153"/>
                    <a:pt x="633" y="1133"/>
                    <a:pt x="618" y="1113"/>
                  </a:cubicBezTo>
                  <a:cubicBezTo>
                    <a:pt x="603" y="1093"/>
                    <a:pt x="585" y="1075"/>
                    <a:pt x="571" y="1054"/>
                  </a:cubicBezTo>
                  <a:cubicBezTo>
                    <a:pt x="563" y="1042"/>
                    <a:pt x="554" y="1030"/>
                    <a:pt x="545" y="1019"/>
                  </a:cubicBezTo>
                  <a:cubicBezTo>
                    <a:pt x="523" y="994"/>
                    <a:pt x="505" y="966"/>
                    <a:pt x="485" y="940"/>
                  </a:cubicBezTo>
                  <a:cubicBezTo>
                    <a:pt x="470" y="920"/>
                    <a:pt x="456" y="901"/>
                    <a:pt x="442" y="881"/>
                  </a:cubicBezTo>
                  <a:cubicBezTo>
                    <a:pt x="434" y="870"/>
                    <a:pt x="428" y="859"/>
                    <a:pt x="420" y="849"/>
                  </a:cubicBezTo>
                  <a:cubicBezTo>
                    <a:pt x="399" y="822"/>
                    <a:pt x="382" y="793"/>
                    <a:pt x="363" y="765"/>
                  </a:cubicBezTo>
                  <a:cubicBezTo>
                    <a:pt x="349" y="745"/>
                    <a:pt x="336" y="725"/>
                    <a:pt x="323" y="705"/>
                  </a:cubicBezTo>
                  <a:cubicBezTo>
                    <a:pt x="313" y="690"/>
                    <a:pt x="304" y="674"/>
                    <a:pt x="294" y="658"/>
                  </a:cubicBezTo>
                  <a:cubicBezTo>
                    <a:pt x="280" y="636"/>
                    <a:pt x="267" y="614"/>
                    <a:pt x="254" y="591"/>
                  </a:cubicBezTo>
                  <a:cubicBezTo>
                    <a:pt x="246" y="577"/>
                    <a:pt x="239" y="563"/>
                    <a:pt x="231" y="550"/>
                  </a:cubicBezTo>
                  <a:cubicBezTo>
                    <a:pt x="215" y="526"/>
                    <a:pt x="203" y="500"/>
                    <a:pt x="189" y="475"/>
                  </a:cubicBezTo>
                  <a:cubicBezTo>
                    <a:pt x="182" y="461"/>
                    <a:pt x="176" y="446"/>
                    <a:pt x="168" y="433"/>
                  </a:cubicBezTo>
                  <a:cubicBezTo>
                    <a:pt x="155" y="411"/>
                    <a:pt x="145" y="387"/>
                    <a:pt x="134" y="364"/>
                  </a:cubicBezTo>
                  <a:cubicBezTo>
                    <a:pt x="123" y="343"/>
                    <a:pt x="115" y="321"/>
                    <a:pt x="104" y="299"/>
                  </a:cubicBezTo>
                  <a:cubicBezTo>
                    <a:pt x="86" y="261"/>
                    <a:pt x="72" y="221"/>
                    <a:pt x="57" y="181"/>
                  </a:cubicBezTo>
                  <a:cubicBezTo>
                    <a:pt x="51" y="165"/>
                    <a:pt x="47" y="150"/>
                    <a:pt x="40" y="135"/>
                  </a:cubicBezTo>
                  <a:cubicBezTo>
                    <a:pt x="23" y="93"/>
                    <a:pt x="13" y="49"/>
                    <a:pt x="1" y="5"/>
                  </a:cubicBezTo>
                  <a:cubicBezTo>
                    <a:pt x="0" y="4"/>
                    <a:pt x="0" y="2"/>
                    <a:pt x="0" y="0"/>
                  </a:cubicBezTo>
                  <a:cubicBezTo>
                    <a:pt x="271" y="0"/>
                    <a:pt x="542" y="0"/>
                    <a:pt x="812" y="0"/>
                  </a:cubicBezTo>
                  <a:cubicBezTo>
                    <a:pt x="818" y="0"/>
                    <a:pt x="819" y="1"/>
                    <a:pt x="819" y="6"/>
                  </a:cubicBezTo>
                  <a:cubicBezTo>
                    <a:pt x="819" y="458"/>
                    <a:pt x="819" y="909"/>
                    <a:pt x="819" y="1361"/>
                  </a:cubicBezTo>
                  <a:close/>
                </a:path>
              </a:pathLst>
            </a:custGeom>
            <a:solidFill>
              <a:srgbClr val="2B14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grpSp>
        <p:nvGrpSpPr>
          <p:cNvPr id="6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7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8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9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11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4280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  <a:endParaRPr lang="en-US" dirty="0"/>
          </a:p>
        </p:txBody>
      </p:sp>
      <p:sp>
        <p:nvSpPr>
          <p:cNvPr id="17" name="Chart Placeholder 16"/>
          <p:cNvSpPr>
            <a:spLocks noGrp="1"/>
          </p:cNvSpPr>
          <p:nvPr>
            <p:ph type="chart" sz="quarter" idx="10"/>
          </p:nvPr>
        </p:nvSpPr>
        <p:spPr>
          <a:xfrm>
            <a:off x="407988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8" name="Chart Placeholder 16"/>
          <p:cNvSpPr>
            <a:spLocks noGrp="1"/>
          </p:cNvSpPr>
          <p:nvPr>
            <p:ph type="chart" sz="quarter" idx="11"/>
          </p:nvPr>
        </p:nvSpPr>
        <p:spPr>
          <a:xfrm>
            <a:off x="6240463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0463" y="14128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  <a:endParaRPr lang="en-US" dirty="0"/>
          </a:p>
        </p:txBody>
      </p:sp>
      <p:sp>
        <p:nvSpPr>
          <p:cNvPr id="12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40814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  <a:endParaRPr lang="en-US" dirty="0"/>
          </a:p>
        </p:txBody>
      </p:sp>
      <p:sp>
        <p:nvSpPr>
          <p:cNvPr id="26" name="Chart Placeholder 16"/>
          <p:cNvSpPr>
            <a:spLocks noGrp="1"/>
          </p:cNvSpPr>
          <p:nvPr>
            <p:ph type="chart" sz="quarter" idx="17"/>
          </p:nvPr>
        </p:nvSpPr>
        <p:spPr>
          <a:xfrm>
            <a:off x="407988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7" name="Chart Placeholder 16"/>
          <p:cNvSpPr>
            <a:spLocks noGrp="1"/>
          </p:cNvSpPr>
          <p:nvPr>
            <p:ph type="chart" sz="quarter" idx="18"/>
          </p:nvPr>
        </p:nvSpPr>
        <p:spPr>
          <a:xfrm>
            <a:off x="6240463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40463" y="40662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  <a:endParaRPr lang="en-US" dirty="0"/>
          </a:p>
        </p:txBody>
      </p:sp>
      <p:sp>
        <p:nvSpPr>
          <p:cNvPr id="29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4167872"/>
            <a:ext cx="12192000" cy="2420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>
          <a:xfrm rot="19314106">
            <a:off x="10194925" y="-167640"/>
            <a:ext cx="3346450" cy="4919345"/>
          </a:xfrm>
          <a:custGeom>
            <a:avLst/>
            <a:gdLst>
              <a:gd name="connsiteX0" fmla="*/ 3522628 w 3522628"/>
              <a:gd name="connsiteY0" fmla="*/ 891962 h 5177025"/>
              <a:gd name="connsiteX1" fmla="*/ 162923 w 3522628"/>
              <a:gd name="connsiteY1" fmla="*/ 5177025 h 5177025"/>
              <a:gd name="connsiteX2" fmla="*/ 0 w 3522628"/>
              <a:gd name="connsiteY2" fmla="*/ 5049285 h 5177025"/>
              <a:gd name="connsiteX3" fmla="*/ 0 w 3522628"/>
              <a:gd name="connsiteY3" fmla="*/ 1923687 h 5177025"/>
              <a:gd name="connsiteX4" fmla="*/ 1508267 w 3522628"/>
              <a:gd name="connsiteY4" fmla="*/ 0 h 5177025"/>
              <a:gd name="connsiteX5" fmla="*/ 2384994 w 3522628"/>
              <a:gd name="connsiteY5" fmla="*/ 0 h 51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2628" h="5177025">
                <a:moveTo>
                  <a:pt x="3522628" y="891962"/>
                </a:moveTo>
                <a:lnTo>
                  <a:pt x="162923" y="5177025"/>
                </a:lnTo>
                <a:lnTo>
                  <a:pt x="0" y="5049285"/>
                </a:lnTo>
                <a:lnTo>
                  <a:pt x="0" y="1923687"/>
                </a:lnTo>
                <a:lnTo>
                  <a:pt x="1508267" y="0"/>
                </a:lnTo>
                <a:lnTo>
                  <a:pt x="2384994" y="0"/>
                </a:lnTo>
                <a:close/>
              </a:path>
            </a:pathLst>
          </a:custGeom>
        </p:spPr>
      </p:pic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4110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>
          <a:xfrm rot="19314106">
            <a:off x="10163160" y="-166653"/>
            <a:ext cx="3522628" cy="5177025"/>
          </a:xfrm>
          <a:custGeom>
            <a:avLst/>
            <a:gdLst>
              <a:gd name="connsiteX0" fmla="*/ 3522628 w 3522628"/>
              <a:gd name="connsiteY0" fmla="*/ 891962 h 5177025"/>
              <a:gd name="connsiteX1" fmla="*/ 162923 w 3522628"/>
              <a:gd name="connsiteY1" fmla="*/ 5177025 h 5177025"/>
              <a:gd name="connsiteX2" fmla="*/ 0 w 3522628"/>
              <a:gd name="connsiteY2" fmla="*/ 5049285 h 5177025"/>
              <a:gd name="connsiteX3" fmla="*/ 0 w 3522628"/>
              <a:gd name="connsiteY3" fmla="*/ 1923687 h 5177025"/>
              <a:gd name="connsiteX4" fmla="*/ 1508267 w 3522628"/>
              <a:gd name="connsiteY4" fmla="*/ 0 h 5177025"/>
              <a:gd name="connsiteX5" fmla="*/ 2384994 w 3522628"/>
              <a:gd name="connsiteY5" fmla="*/ 0 h 51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2628" h="5177025">
                <a:moveTo>
                  <a:pt x="3522628" y="891962"/>
                </a:moveTo>
                <a:lnTo>
                  <a:pt x="162923" y="5177025"/>
                </a:lnTo>
                <a:lnTo>
                  <a:pt x="0" y="5049285"/>
                </a:lnTo>
                <a:lnTo>
                  <a:pt x="0" y="1923687"/>
                </a:lnTo>
                <a:lnTo>
                  <a:pt x="1508267" y="0"/>
                </a:lnTo>
                <a:lnTo>
                  <a:pt x="2384994" y="0"/>
                </a:lnTo>
                <a:close/>
              </a:path>
            </a:pathLst>
          </a:custGeom>
        </p:spPr>
      </p:pic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4110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7077074" y="0"/>
            <a:ext cx="5135697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4110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9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12191999" cy="6857619"/>
          </a:xfrm>
          <a:prstGeom prst="rect">
            <a:avLst/>
          </a:prstGeom>
        </p:spPr>
      </p:pic>
      <p:sp>
        <p:nvSpPr>
          <p:cNvPr id="2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240016" y="2709000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</a:t>
            </a:r>
            <a:r>
              <a:rPr lang="en-US" altLang="zh-CN" dirty="0"/>
              <a:t>insert</a:t>
            </a:r>
            <a:r>
              <a:rPr lang="en-US" dirty="0"/>
              <a:t> title</a:t>
            </a:r>
            <a:endParaRPr lang="pt-PT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40016" y="4826329"/>
            <a:ext cx="5392948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  <a:endParaRPr lang="en-US" dirty="0"/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20000" y="117000"/>
            <a:ext cx="3312368" cy="1245985"/>
          </a:xfrm>
          <a:prstGeom prst="rect">
            <a:avLst/>
          </a:prstGeom>
        </p:spPr>
      </p:pic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10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37"/>
            <a:ext cx="12189630" cy="6856926"/>
          </a:xfrm>
          <a:prstGeom prst="rect">
            <a:avLst/>
          </a:prstGeom>
        </p:spPr>
      </p:pic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31904" y="836712"/>
            <a:ext cx="6048102" cy="119484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 dirty="0"/>
              <a:t>Click to add section title</a:t>
            </a:r>
            <a:endParaRPr lang="en-US" altLang="zh-CN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6240066" y="2175571"/>
            <a:ext cx="5039940" cy="1152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lnSpc>
                <a:spcPct val="100000"/>
              </a:lnSpc>
              <a:defRPr sz="180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grpSp>
        <p:nvGrpSpPr>
          <p:cNvPr id="5" name="组合 4"/>
          <p:cNvGrpSpPr/>
          <p:nvPr userDrawn="1"/>
        </p:nvGrpSpPr>
        <p:grpSpPr>
          <a:xfrm>
            <a:off x="8985250" y="6650355"/>
            <a:ext cx="3011170" cy="123190"/>
            <a:chOff x="14150" y="10473"/>
            <a:chExt cx="4742" cy="194"/>
          </a:xfrm>
        </p:grpSpPr>
        <p:sp>
          <p:nvSpPr>
            <p:cNvPr id="7" name="Text Placeholder 7"/>
            <p:cNvSpPr txBox="1"/>
            <p:nvPr userDrawn="1"/>
          </p:nvSpPr>
          <p:spPr>
            <a:xfrm>
              <a:off x="14150" y="10473"/>
              <a:ext cx="4196" cy="194"/>
            </a:xfrm>
            <a:prstGeom prst="rect">
              <a:avLst/>
            </a:prstGeom>
          </p:spPr>
          <p:txBody>
            <a:bodyPr lIns="0" tIns="0" rIns="0" bIns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800" kern="1200">
                  <a:solidFill>
                    <a:srgbClr val="7F7F7F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lang="en-US" altLang="zh-CN" dirty="0">
                  <a:solidFill>
                    <a:schemeClr val="bg2">
                      <a:lumMod val="75000"/>
                    </a:schemeClr>
                  </a:solidFill>
                  <a:latin typeface="Ubuntu" panose="020B0504030602030204" charset="0"/>
                  <a:cs typeface="Ubuntu" panose="020B0504030602030204" charset="0"/>
                </a:rPr>
                <a:t> </a:t>
              </a:r>
              <a:r>
                <a:rPr lang="en-US" dirty="0">
                  <a:solidFill>
                    <a:schemeClr val="bg2">
                      <a:lumMod val="75000"/>
                    </a:schemeClr>
                  </a:solidFill>
                  <a:latin typeface="Ubuntu" panose="020B0504030602030204" charset="0"/>
                  <a:cs typeface="Ubuntu" panose="020B0504030602030204" charset="0"/>
                </a:rPr>
                <a:t>© Capgemini 2019. All rights reserved  |</a:t>
              </a:r>
              <a:endPara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endParaRPr>
            </a:p>
          </p:txBody>
        </p:sp>
        <p:sp>
          <p:nvSpPr>
            <p:cNvPr id="9" name="Slide Number Placeholder 2"/>
            <p:cNvSpPr>
              <a:spLocks noGrp="1"/>
            </p:cNvSpPr>
            <p:nvPr userDrawn="1"/>
          </p:nvSpPr>
          <p:spPr>
            <a:xfrm>
              <a:off x="18288" y="10473"/>
              <a:ext cx="604" cy="18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lvl1pPr algn="r">
                <a:defRPr sz="800">
                  <a:solidFill>
                    <a:schemeClr val="bg2">
                      <a:lumMod val="75000"/>
                    </a:schemeClr>
                  </a:solidFill>
                  <a:latin typeface="Ubuntu" panose="020B0504030602030204" charset="0"/>
                </a:defRPr>
              </a:lvl1pPr>
            </a:lstStyle>
            <a:p>
              <a:fld id="{82AEB339-35A9-4F89-A7F1-6AA7D19F90C6}" type="slidenum">
                <a:rPr lang="en-US" smtClean="0"/>
              </a:fld>
              <a:endParaRPr lang="en-US" dirty="0"/>
            </a:p>
          </p:txBody>
        </p:sp>
      </p:grp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 2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89630" cy="6858000"/>
          </a:xfrm>
          <a:prstGeom prst="rect">
            <a:avLst/>
          </a:prstGeom>
        </p:spPr>
      </p:pic>
      <p:sp>
        <p:nvSpPr>
          <p:cNvPr id="30" name="Rectangle 26">
            <a:hlinkClick r:id="rId3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642620" y="4428455"/>
            <a:ext cx="2016760" cy="296545"/>
            <a:chOff x="1558" y="5928"/>
            <a:chExt cx="3561" cy="524"/>
          </a:xfrm>
        </p:grpSpPr>
        <p:pic>
          <p:nvPicPr>
            <p:cNvPr id="17" name="Picture 2" descr="D:\My Work\Template\Icons\Social Media\LinkedIN.png">
              <a:hlinkClick r:id="rId4"/>
            </p:cNvPr>
            <p:cNvPicPr>
              <a:picLocks noChangeAspect="1" noChangeArrowheads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161" y="5928"/>
              <a:ext cx="525" cy="525"/>
            </a:xfrm>
            <a:prstGeom prst="rect">
              <a:avLst/>
            </a:prstGeom>
            <a:noFill/>
          </p:spPr>
        </p:pic>
        <p:pic>
          <p:nvPicPr>
            <p:cNvPr id="18" name="Picture 4" descr="D:\My Work\Template\Icons\Social Media\SlideShare.png">
              <a:hlinkClick r:id="rId6"/>
            </p:cNvPr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765" y="5928"/>
              <a:ext cx="525" cy="525"/>
            </a:xfrm>
            <a:prstGeom prst="rect">
              <a:avLst/>
            </a:prstGeom>
            <a:noFill/>
          </p:spPr>
        </p:pic>
        <p:pic>
          <p:nvPicPr>
            <p:cNvPr id="19" name="Picture 5" descr="D:\My Work\Template\Icons\Social Media\Twitter.png">
              <a:hlinkClick r:id="rId8"/>
            </p:cNvPr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369" y="5928"/>
              <a:ext cx="525" cy="525"/>
            </a:xfrm>
            <a:prstGeom prst="rect">
              <a:avLst/>
            </a:prstGeom>
            <a:noFill/>
          </p:spPr>
        </p:pic>
        <p:pic>
          <p:nvPicPr>
            <p:cNvPr id="20" name="Picture 6" descr="D:\My Work\Template\Icons\Social Media\YouTube.png">
              <a:hlinkClick r:id="rId10"/>
            </p:cNvPr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73" y="5928"/>
              <a:ext cx="525" cy="525"/>
            </a:xfrm>
            <a:prstGeom prst="rect">
              <a:avLst/>
            </a:prstGeom>
            <a:noFill/>
          </p:spPr>
        </p:pic>
        <p:pic>
          <p:nvPicPr>
            <p:cNvPr id="21" name="Picture 7" descr="D:\My Work\Template\Icons\Social Media\Facebook.png">
              <a:hlinkClick r:id="rId12"/>
            </p:cNvPr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558" y="5928"/>
              <a:ext cx="525" cy="525"/>
            </a:xfrm>
            <a:prstGeom prst="rect">
              <a:avLst/>
            </a:prstGeom>
            <a:noFill/>
          </p:spPr>
        </p:pic>
        <p:grpSp>
          <p:nvGrpSpPr>
            <p:cNvPr id="2" name="Group 33"/>
            <p:cNvGrpSpPr/>
            <p:nvPr userDrawn="1"/>
          </p:nvGrpSpPr>
          <p:grpSpPr>
            <a:xfrm>
              <a:off x="4607" y="5928"/>
              <a:ext cx="513" cy="513"/>
              <a:chOff x="2293525" y="4008226"/>
              <a:chExt cx="292232" cy="292232"/>
            </a:xfrm>
          </p:grpSpPr>
          <p:sp>
            <p:nvSpPr>
              <p:cNvPr id="3" name="Oval 34"/>
              <p:cNvSpPr/>
              <p:nvPr userDrawn="1"/>
            </p:nvSpPr>
            <p:spPr>
              <a:xfrm>
                <a:off x="2293525" y="4008226"/>
                <a:ext cx="292232" cy="292232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" name="Picture 35"/>
              <p:cNvPicPr>
                <a:picLocks noChangeAspect="1"/>
              </p:cNvPicPr>
              <p:nvPr userDrawn="1"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2349600" y="4073784"/>
                <a:ext cx="197666" cy="161727"/>
              </a:xfrm>
              <a:prstGeom prst="rect">
                <a:avLst/>
              </a:prstGeom>
            </p:spPr>
          </p:pic>
        </p:grpSp>
      </p:grpSp>
      <p:pic>
        <p:nvPicPr>
          <p:cNvPr id="22" name="Picture 21" descr="C:\Users\lyc1\Desktop\图片1.png图片1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>
          <a:xfrm>
            <a:off x="630555" y="4869000"/>
            <a:ext cx="2078355" cy="379730"/>
          </a:xfrm>
          <a:prstGeom prst="rect">
            <a:avLst/>
          </a:prstGeom>
        </p:spPr>
      </p:pic>
      <p:sp>
        <p:nvSpPr>
          <p:cNvPr id="5" name="Rectangle 27"/>
          <p:cNvSpPr/>
          <p:nvPr userDrawn="1"/>
        </p:nvSpPr>
        <p:spPr>
          <a:xfrm>
            <a:off x="630555" y="5733000"/>
            <a:ext cx="4423410" cy="49212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此消息可能包含保密或机密的信息，且属于凯捷集团的财产。</a:t>
            </a:r>
            <a:endParaRPr lang="en-US" sz="800" kern="1200" dirty="0">
              <a:solidFill>
                <a:schemeClr val="bg1"/>
              </a:solidFill>
              <a:effectLst/>
              <a:latin typeface="思源黑体 CN Medium" panose="020B0600000000000000" charset="-122"/>
              <a:ea typeface="思源黑体 CN Medium" panose="020B0600000000000000" charset="-122"/>
              <a:cs typeface="思源黑体 CN Medium" panose="020B0600000000000000" charset="-122"/>
            </a:endParaRPr>
          </a:p>
          <a:p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版权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©</a:t>
            </a:r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归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2019 </a:t>
            </a:r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凯捷所有。</a:t>
            </a:r>
            <a:endParaRPr lang="en-US" altLang="zh-CN" sz="800" kern="1200" dirty="0">
              <a:solidFill>
                <a:schemeClr val="bg1"/>
              </a:solidFill>
              <a:effectLst/>
              <a:latin typeface="思源黑体 CN Medium" panose="020B0600000000000000" charset="-122"/>
              <a:ea typeface="思源黑体 CN Medium" panose="020B0600000000000000" charset="-122"/>
              <a:cs typeface="思源黑体 CN Medium" panose="020B0600000000000000" charset="-122"/>
            </a:endParaRPr>
          </a:p>
          <a:p>
            <a:endParaRPr lang="en-US" sz="800" kern="1200" dirty="0">
              <a:solidFill>
                <a:schemeClr val="bg1"/>
              </a:solidFill>
              <a:effectLst/>
              <a:latin typeface="思源黑体 CN Medium" panose="020B0600000000000000" charset="-122"/>
              <a:ea typeface="思源黑体 CN Medium" panose="020B0600000000000000" charset="-122"/>
              <a:cs typeface="思源黑体 CN Medium" panose="020B0600000000000000" charset="-122"/>
            </a:endParaRPr>
          </a:p>
          <a:p>
            <a:r>
              <a:rPr lang="en-US" sz="800" kern="1200" dirty="0" err="1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Rightshore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®</a:t>
            </a:r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Medium" panose="020B0600000000000000" charset="-122"/>
                <a:ea typeface="思源黑体 CN Medium" panose="020B0600000000000000" charset="-122"/>
                <a:cs typeface="思源黑体 CN Medium" panose="020B0600000000000000" charset="-122"/>
              </a:rPr>
              <a:t>是凯捷的注册商标。</a:t>
            </a:r>
            <a:endParaRPr lang="en-US" sz="800" kern="1200" dirty="0">
              <a:solidFill>
                <a:schemeClr val="bg1"/>
              </a:solidFill>
              <a:effectLst/>
              <a:latin typeface="思源黑体 CN Medium" panose="020B0600000000000000" charset="-122"/>
              <a:ea typeface="思源黑体 CN Medium" panose="020B0600000000000000" charset="-122"/>
              <a:cs typeface="思源黑体 CN Medium" panose="020B0600000000000000" charset="-122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6835101" y="1964255"/>
            <a:ext cx="4156899" cy="2559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关于凯捷</a:t>
            </a:r>
            <a:endParaRPr lang="en-US" sz="12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6" name="Rectangle 14"/>
          <p:cNvSpPr/>
          <p:nvPr userDrawn="1"/>
        </p:nvSpPr>
        <p:spPr>
          <a:xfrm>
            <a:off x="6835100" y="2335214"/>
            <a:ext cx="4372900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algn="just"/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凯捷集团在全世界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40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多个国家和地区拥有超过</a:t>
            </a:r>
            <a:r>
              <a:rPr lang="en-US" altLang="zh-CN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20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万名员工，是一家全球领先的管理咨询、信息技术和外包服务提供商。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2018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年集团全球营收达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132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亿欧元。</a:t>
            </a:r>
            <a:endParaRPr lang="en-US" altLang="zh-CN" sz="1000" kern="1200" dirty="0">
              <a:solidFill>
                <a:schemeClr val="tx1"/>
              </a:solidFill>
              <a:effectLst/>
              <a:latin typeface="思源黑体 CN Light" panose="020B0300000000000000" charset="-122"/>
              <a:ea typeface="思源黑体 CN Light" panose="020B0300000000000000" charset="-122"/>
              <a:cs typeface="思源黑体 CN Light" panose="020B0300000000000000" charset="-122"/>
            </a:endParaRPr>
          </a:p>
          <a:p>
            <a:pPr algn="just"/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凯捷携客户一起创造、提供符合需要的商业、技术及数字化解决方案，帮助客户提升创新与竞争力。</a:t>
            </a:r>
            <a:endParaRPr lang="en-US" sz="1000" kern="1200" dirty="0">
              <a:solidFill>
                <a:schemeClr val="tx1"/>
              </a:solidFill>
              <a:effectLst/>
              <a:latin typeface="思源黑体 CN Light" panose="020B0300000000000000" charset="-122"/>
              <a:ea typeface="思源黑体 CN Light" panose="020B0300000000000000" charset="-122"/>
              <a:cs typeface="思源黑体 CN Light" panose="020B0300000000000000" charset="-122"/>
            </a:endParaRPr>
          </a:p>
        </p:txBody>
      </p:sp>
      <p:sp>
        <p:nvSpPr>
          <p:cNvPr id="8" name="Rectangle 36"/>
          <p:cNvSpPr/>
          <p:nvPr userDrawn="1"/>
        </p:nvSpPr>
        <p:spPr>
          <a:xfrm>
            <a:off x="6835140" y="5893435"/>
            <a:ext cx="4569460" cy="18415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zh-CN" altLang="en-US" sz="6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此消息只适用于定向向其发送消息的收件人。 如果您不是预期的收件人，则您无法被授权阅读，打印，保留，复制，传播，分发或使用该消息或其任何部分内容。 如果您收到错误的消息，请立即通知发件人并删除此消息的所有副本。</a:t>
            </a:r>
            <a:endParaRPr lang="en-US" sz="600" kern="1200" dirty="0">
              <a:solidFill>
                <a:schemeClr val="tx1"/>
              </a:solidFill>
              <a:effectLst/>
              <a:latin typeface="思源黑体 CN Light" panose="020B0300000000000000" charset="-122"/>
              <a:ea typeface="思源黑体 CN Light" panose="020B0300000000000000" charset="-122"/>
              <a:cs typeface="思源黑体 CN Light" panose="020B0300000000000000" charset="-122"/>
            </a:endParaRPr>
          </a:p>
        </p:txBody>
      </p:sp>
      <p:grpSp>
        <p:nvGrpSpPr>
          <p:cNvPr id="13" name="组合 12"/>
          <p:cNvGrpSpPr/>
          <p:nvPr userDrawn="1"/>
        </p:nvGrpSpPr>
        <p:grpSpPr>
          <a:xfrm>
            <a:off x="6759555" y="3536950"/>
            <a:ext cx="2608670" cy="1870075"/>
            <a:chOff x="10645" y="5909"/>
            <a:chExt cx="4108" cy="2945"/>
          </a:xfrm>
        </p:grpSpPr>
        <p:sp>
          <p:nvSpPr>
            <p:cNvPr id="7" name="Rectangle 32"/>
            <p:cNvSpPr/>
            <p:nvPr userDrawn="1"/>
          </p:nvSpPr>
          <p:spPr>
            <a:xfrm>
              <a:off x="10820" y="5909"/>
              <a:ext cx="3301" cy="4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zh-CN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思源黑体 CN Bold" panose="020B0800000000000000" pitchFamily="34" charset="-122"/>
                </a:rPr>
                <a:t>了解更多详情，请访问</a:t>
              </a:r>
              <a:r>
                <a:rPr lang="en-US" sz="1000" kern="1200" dirty="0">
                  <a:solidFill>
                    <a:schemeClr val="accent2"/>
                  </a:solidFill>
                  <a:latin typeface="Ubuntu" panose="020B0504030602030204" charset="0"/>
                  <a:ea typeface="思源黑体 CN Bold" panose="020B0800000000000000" pitchFamily="34" charset="-122"/>
                  <a:cs typeface="Ubuntu" panose="020B0504030602030204" charset="0"/>
                </a:rPr>
                <a:t>www.capgemini.com/cn-zh/</a:t>
              </a:r>
              <a:endParaRPr lang="en-US" sz="1000" kern="1200" dirty="0">
                <a:solidFill>
                  <a:schemeClr val="accent2"/>
                </a:solidFill>
                <a:latin typeface="Ubuntu" panose="020B0504030602030204" charset="0"/>
                <a:ea typeface="思源黑体 CN Bold" panose="020B0800000000000000" pitchFamily="34" charset="-122"/>
                <a:cs typeface="Ubuntu" panose="020B0504030602030204" charset="0"/>
              </a:endParaRPr>
            </a:p>
          </p:txBody>
        </p:sp>
        <p:grpSp>
          <p:nvGrpSpPr>
            <p:cNvPr id="12" name="组合 11"/>
            <p:cNvGrpSpPr/>
            <p:nvPr userDrawn="1"/>
          </p:nvGrpSpPr>
          <p:grpSpPr>
            <a:xfrm>
              <a:off x="10645" y="6427"/>
              <a:ext cx="4108" cy="2427"/>
              <a:chOff x="10758" y="6587"/>
              <a:chExt cx="4549" cy="2687"/>
            </a:xfrm>
          </p:grpSpPr>
          <p:sp>
            <p:nvSpPr>
              <p:cNvPr id="9" name="文本框 8"/>
              <p:cNvSpPr txBox="1"/>
              <p:nvPr userDrawn="1"/>
            </p:nvSpPr>
            <p:spPr>
              <a:xfrm>
                <a:off x="10758" y="8686"/>
                <a:ext cx="4549" cy="588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l"/>
                <a:r>
                  <a:rPr lang="zh-CN" altLang="en-US" sz="8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思源黑体 CN Medium" panose="020B0600000000000000" charset="-122"/>
                    <a:ea typeface="思源黑体 CN Medium" panose="020B0600000000000000" charset="-122"/>
                  </a:rPr>
                  <a:t>关注我们的官网和微信公众号，</a:t>
                </a:r>
                <a:endParaRPr lang="zh-CN" altLang="en-US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思源黑体 CN Medium" panose="020B0600000000000000" charset="-122"/>
                  <a:ea typeface="思源黑体 CN Medium" panose="020B0600000000000000" charset="-122"/>
                </a:endParaRPr>
              </a:p>
              <a:p>
                <a:pPr algn="l"/>
                <a:r>
                  <a:rPr lang="zh-CN" altLang="en-US" sz="8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思源黑体 CN Medium" panose="020B0600000000000000" charset="-122"/>
                    <a:ea typeface="思源黑体 CN Medium" panose="020B0600000000000000" charset="-122"/>
                  </a:rPr>
                  <a:t>了解凯捷在中国市场的更多卓越成就及行业资讯！</a:t>
                </a:r>
                <a:endParaRPr lang="zh-CN" altLang="en-US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思源黑体 CN Medium" panose="020B0600000000000000" charset="-122"/>
                  <a:ea typeface="思源黑体 CN Medium" panose="020B0600000000000000" charset="-122"/>
                </a:endParaRPr>
              </a:p>
            </p:txBody>
          </p:sp>
          <p:pic>
            <p:nvPicPr>
              <p:cNvPr id="10" name="图片 9" descr="c192e3dbe3da772906473590e27c74a"/>
              <p:cNvPicPr>
                <a:picLocks noChangeAspect="1"/>
              </p:cNvPicPr>
              <p:nvPr userDrawn="1"/>
            </p:nvPicPr>
            <p:blipFill>
              <a:blip r:embed="rId16"/>
              <a:stretch>
                <a:fillRect/>
              </a:stretch>
            </p:blipFill>
            <p:spPr>
              <a:xfrm>
                <a:off x="10952" y="6587"/>
                <a:ext cx="2099" cy="2098"/>
              </a:xfrm>
              <a:prstGeom prst="rect">
                <a:avLst/>
              </a:prstGeom>
              <a:effectLst>
                <a:softEdge rad="12700"/>
              </a:effectLst>
            </p:spPr>
          </p:pic>
        </p:grpSp>
      </p:grp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-1243012" y="-2656920"/>
            <a:ext cx="10768012" cy="11443496"/>
          </a:xfrm>
          <a:custGeom>
            <a:avLst/>
            <a:gdLst>
              <a:gd name="T0" fmla="*/ 854 w 3407"/>
              <a:gd name="T1" fmla="*/ 0 h 3621"/>
              <a:gd name="T2" fmla="*/ 0 w 3407"/>
              <a:gd name="T3" fmla="*/ 0 h 3621"/>
              <a:gd name="T4" fmla="*/ 0 w 3407"/>
              <a:gd name="T5" fmla="*/ 3621 h 3621"/>
              <a:gd name="T6" fmla="*/ 3407 w 3407"/>
              <a:gd name="T7" fmla="*/ 3621 h 3621"/>
              <a:gd name="T8" fmla="*/ 3407 w 3407"/>
              <a:gd name="T9" fmla="*/ 3617 h 3621"/>
              <a:gd name="T10" fmla="*/ 179 w 3407"/>
              <a:gd name="T11" fmla="*/ 3617 h 3621"/>
              <a:gd name="T12" fmla="*/ 2096 w 3407"/>
              <a:gd name="T13" fmla="*/ 1606 h 3621"/>
              <a:gd name="T14" fmla="*/ 854 w 3407"/>
              <a:gd name="T15" fmla="*/ 0 h 3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407" h="3621">
                <a:moveTo>
                  <a:pt x="854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621"/>
                  <a:pt x="0" y="3621"/>
                  <a:pt x="0" y="3621"/>
                </a:cubicBezTo>
                <a:cubicBezTo>
                  <a:pt x="3407" y="3621"/>
                  <a:pt x="3407" y="3621"/>
                  <a:pt x="3407" y="3621"/>
                </a:cubicBezTo>
                <a:cubicBezTo>
                  <a:pt x="3407" y="3617"/>
                  <a:pt x="3407" y="3617"/>
                  <a:pt x="3407" y="3617"/>
                </a:cubicBezTo>
                <a:cubicBezTo>
                  <a:pt x="179" y="3617"/>
                  <a:pt x="179" y="3617"/>
                  <a:pt x="179" y="3617"/>
                </a:cubicBezTo>
                <a:cubicBezTo>
                  <a:pt x="2551" y="2996"/>
                  <a:pt x="2421" y="1729"/>
                  <a:pt x="2096" y="1606"/>
                </a:cubicBezTo>
                <a:cubicBezTo>
                  <a:pt x="2281" y="2130"/>
                  <a:pt x="865" y="1627"/>
                  <a:pt x="854" y="0"/>
                </a:cubicBezTo>
              </a:path>
            </a:pathLst>
          </a:custGeom>
          <a:solidFill>
            <a:srgbClr val="300B4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4979035" y="2404110"/>
            <a:ext cx="735013" cy="682321"/>
            <a:chOff x="5662614" y="3032124"/>
            <a:chExt cx="863600" cy="801689"/>
          </a:xfrm>
        </p:grpSpPr>
        <p:sp>
          <p:nvSpPr>
            <p:cNvPr id="10" name="Freeform 9"/>
            <p:cNvSpPr/>
            <p:nvPr/>
          </p:nvSpPr>
          <p:spPr bwMode="auto">
            <a:xfrm>
              <a:off x="5959476" y="3368675"/>
              <a:ext cx="566738" cy="465138"/>
            </a:xfrm>
            <a:custGeom>
              <a:avLst/>
              <a:gdLst>
                <a:gd name="T0" fmla="*/ 99 w 149"/>
                <a:gd name="T1" fmla="*/ 85 h 122"/>
                <a:gd name="T2" fmla="*/ 149 w 149"/>
                <a:gd name="T3" fmla="*/ 34 h 122"/>
                <a:gd name="T4" fmla="*/ 112 w 149"/>
                <a:gd name="T5" fmla="*/ 0 h 122"/>
                <a:gd name="T6" fmla="*/ 39 w 149"/>
                <a:gd name="T7" fmla="*/ 78 h 122"/>
                <a:gd name="T8" fmla="*/ 0 w 149"/>
                <a:gd name="T9" fmla="*/ 114 h 122"/>
                <a:gd name="T10" fmla="*/ 29 w 149"/>
                <a:gd name="T11" fmla="*/ 122 h 122"/>
                <a:gd name="T12" fmla="*/ 99 w 149"/>
                <a:gd name="T13" fmla="*/ 99 h 122"/>
                <a:gd name="T14" fmla="*/ 64 w 149"/>
                <a:gd name="T15" fmla="*/ 68 h 122"/>
                <a:gd name="T16" fmla="*/ 99 w 149"/>
                <a:gd name="T17" fmla="*/ 8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2">
                  <a:moveTo>
                    <a:pt x="99" y="85"/>
                  </a:moveTo>
                  <a:cubicBezTo>
                    <a:pt x="127" y="85"/>
                    <a:pt x="149" y="62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8"/>
                    <a:pt x="39" y="78"/>
                  </a:cubicBezTo>
                  <a:cubicBezTo>
                    <a:pt x="37" y="96"/>
                    <a:pt x="20" y="111"/>
                    <a:pt x="0" y="114"/>
                  </a:cubicBezTo>
                  <a:cubicBezTo>
                    <a:pt x="5" y="119"/>
                    <a:pt x="16" y="122"/>
                    <a:pt x="29" y="122"/>
                  </a:cubicBezTo>
                  <a:cubicBezTo>
                    <a:pt x="54" y="122"/>
                    <a:pt x="84" y="115"/>
                    <a:pt x="99" y="99"/>
                  </a:cubicBezTo>
                  <a:cubicBezTo>
                    <a:pt x="78" y="100"/>
                    <a:pt x="65" y="86"/>
                    <a:pt x="64" y="68"/>
                  </a:cubicBezTo>
                  <a:cubicBezTo>
                    <a:pt x="74" y="80"/>
                    <a:pt x="85" y="85"/>
                    <a:pt x="99" y="85"/>
                  </a:cubicBezTo>
                </a:path>
              </a:pathLst>
            </a:custGeom>
            <a:solidFill>
              <a:srgbClr val="00B0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  <p:sp>
          <p:nvSpPr>
            <p:cNvPr id="13" name="Freeform 12"/>
            <p:cNvSpPr/>
            <p:nvPr/>
          </p:nvSpPr>
          <p:spPr bwMode="auto">
            <a:xfrm>
              <a:off x="5662614" y="3032124"/>
              <a:ext cx="863600" cy="736599"/>
            </a:xfrm>
            <a:custGeom>
              <a:avLst/>
              <a:gdLst>
                <a:gd name="T0" fmla="*/ 227 w 227"/>
                <a:gd name="T1" fmla="*/ 120 h 193"/>
                <a:gd name="T2" fmla="*/ 188 w 227"/>
                <a:gd name="T3" fmla="*/ 40 h 193"/>
                <a:gd name="T4" fmla="*/ 127 w 227"/>
                <a:gd name="T5" fmla="*/ 3 h 193"/>
                <a:gd name="T6" fmla="*/ 122 w 227"/>
                <a:gd name="T7" fmla="*/ 0 h 193"/>
                <a:gd name="T8" fmla="*/ 122 w 227"/>
                <a:gd name="T9" fmla="*/ 0 h 193"/>
                <a:gd name="T10" fmla="*/ 0 w 227"/>
                <a:gd name="T11" fmla="*/ 125 h 193"/>
                <a:gd name="T12" fmla="*/ 42 w 227"/>
                <a:gd name="T13" fmla="*/ 187 h 193"/>
                <a:gd name="T14" fmla="*/ 85 w 227"/>
                <a:gd name="T15" fmla="*/ 188 h 193"/>
                <a:gd name="T16" fmla="*/ 117 w 227"/>
                <a:gd name="T17" fmla="*/ 166 h 193"/>
                <a:gd name="T18" fmla="*/ 190 w 227"/>
                <a:gd name="T19" fmla="*/ 88 h 193"/>
                <a:gd name="T20" fmla="*/ 227 w 227"/>
                <a:gd name="T21" fmla="*/ 122 h 193"/>
                <a:gd name="T22" fmla="*/ 227 w 227"/>
                <a:gd name="T23" fmla="*/ 12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3">
                  <a:moveTo>
                    <a:pt x="227" y="120"/>
                  </a:moveTo>
                  <a:cubicBezTo>
                    <a:pt x="226" y="89"/>
                    <a:pt x="211" y="62"/>
                    <a:pt x="188" y="40"/>
                  </a:cubicBezTo>
                  <a:cubicBezTo>
                    <a:pt x="170" y="24"/>
                    <a:pt x="149" y="12"/>
                    <a:pt x="127" y="3"/>
                  </a:cubicBezTo>
                  <a:cubicBezTo>
                    <a:pt x="125" y="2"/>
                    <a:pt x="123" y="1"/>
                    <a:pt x="12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94" y="33"/>
                    <a:pt x="0" y="57"/>
                    <a:pt x="0" y="125"/>
                  </a:cubicBezTo>
                  <a:cubicBezTo>
                    <a:pt x="0" y="152"/>
                    <a:pt x="17" y="177"/>
                    <a:pt x="42" y="187"/>
                  </a:cubicBezTo>
                  <a:cubicBezTo>
                    <a:pt x="56" y="193"/>
                    <a:pt x="71" y="193"/>
                    <a:pt x="85" y="188"/>
                  </a:cubicBezTo>
                  <a:cubicBezTo>
                    <a:pt x="98" y="184"/>
                    <a:pt x="108" y="176"/>
                    <a:pt x="117" y="166"/>
                  </a:cubicBezTo>
                  <a:cubicBezTo>
                    <a:pt x="145" y="136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5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pic>
        <p:nvPicPr>
          <p:cNvPr id="17" name="Picture 2" descr="D:\My Work\Template\Icons\Social Media\LinkedIN.png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8415" y="3979258"/>
            <a:ext cx="333195" cy="333195"/>
          </a:xfrm>
          <a:prstGeom prst="rect">
            <a:avLst/>
          </a:prstGeom>
          <a:noFill/>
        </p:spPr>
      </p:pic>
      <p:pic>
        <p:nvPicPr>
          <p:cNvPr id="18" name="Picture 4" descr="D:\My Work\Template\Icons\Social Media\SlideShare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81792" y="3979258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5" descr="D:\My Work\Template\Icons\Social Media\Twitter.png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65169" y="3979258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6" descr="D:\My Work\Template\Icons\Social Media\YouTube.png">
            <a:hlinkClick r:id="rId8"/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948545" y="3979258"/>
            <a:ext cx="333195" cy="333195"/>
          </a:xfrm>
          <a:prstGeom prst="rect">
            <a:avLst/>
          </a:prstGeom>
          <a:noFill/>
        </p:spPr>
      </p:pic>
      <p:pic>
        <p:nvPicPr>
          <p:cNvPr id="21" name="Picture 7" descr="D:\My Work\Template\Icons\Social Media\Facebook.png">
            <a:hlinkClick r:id="rId10"/>
          </p:cNvPr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15038" y="3979258"/>
            <a:ext cx="333195" cy="333195"/>
          </a:xfrm>
          <a:prstGeom prst="rect">
            <a:avLst/>
          </a:prstGeom>
          <a:noFill/>
        </p:spPr>
      </p:pic>
      <p:sp>
        <p:nvSpPr>
          <p:cNvPr id="30" name="Rectangle 26">
            <a:hlinkClick r:id="rId12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351584" y="3979258"/>
            <a:ext cx="326042" cy="326042"/>
            <a:chOff x="2293525" y="4008226"/>
            <a:chExt cx="292232" cy="292232"/>
          </a:xfrm>
        </p:grpSpPr>
        <p:sp>
          <p:nvSpPr>
            <p:cNvPr id="35" name="Oval 34"/>
            <p:cNvSpPr/>
            <p:nvPr userDrawn="1"/>
          </p:nvSpPr>
          <p:spPr>
            <a:xfrm>
              <a:off x="2293525" y="4008226"/>
              <a:ext cx="292232" cy="29223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6" name="Picture 35"/>
            <p:cNvPicPr>
              <a:picLocks noChangeAspect="1"/>
            </p:cNvPicPr>
            <p:nvPr userDrawn="1"/>
          </p:nvPicPr>
          <p:blipFill>
            <a:blip r:embed="rId13" cstate="print"/>
            <a:stretch>
              <a:fillRect/>
            </a:stretch>
          </p:blipFill>
          <p:spPr>
            <a:xfrm>
              <a:off x="2349600" y="4073784"/>
              <a:ext cx="197666" cy="161727"/>
            </a:xfrm>
            <a:prstGeom prst="rect">
              <a:avLst/>
            </a:prstGeom>
          </p:spPr>
        </p:pic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415038" y="4491036"/>
            <a:ext cx="2330254" cy="427785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>
          <a:xfrm>
            <a:off x="425104" y="5718176"/>
            <a:ext cx="4198620" cy="49212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此消息可能包含保密或机密的信息，且属于凯捷集团的财产。</a:t>
            </a:r>
            <a:endParaRPr lang="en-US" sz="800" kern="1200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思源黑体 CN Bold" panose="020B0800000000000000" pitchFamily="34" charset="-122"/>
            </a:endParaRPr>
          </a:p>
          <a:p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版权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©</a:t>
            </a:r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归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201</a:t>
            </a:r>
            <a:r>
              <a:rPr lang="en-US" altLang="zh-CN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8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 </a:t>
            </a:r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凯捷所有。</a:t>
            </a:r>
            <a:endParaRPr lang="en-US" altLang="zh-CN" sz="800" kern="1200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思源黑体 CN Bold" panose="020B0800000000000000" pitchFamily="34" charset="-122"/>
            </a:endParaRPr>
          </a:p>
          <a:p>
            <a:endParaRPr lang="en-US" sz="800" kern="1200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思源黑体 CN Bold" panose="020B0800000000000000" pitchFamily="34" charset="-122"/>
            </a:endParaRPr>
          </a:p>
          <a:p>
            <a:r>
              <a:rPr lang="en-US" sz="800" kern="1200" dirty="0" err="1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Rightshore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®</a:t>
            </a:r>
            <a:r>
              <a:rPr lang="zh-CN" altLang="en-US" sz="800" kern="1200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是凯捷的注册商标。</a:t>
            </a:r>
            <a:endParaRPr lang="en-US" sz="800" kern="1200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思源黑体 CN Bold" panose="020B0800000000000000" pitchFamily="34" charset="-122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6536184" y="2753560"/>
            <a:ext cx="4156899" cy="2559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关于凯捷</a:t>
            </a:r>
            <a:endParaRPr lang="zh-CN" altLang="en-US" sz="12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sp>
        <p:nvSpPr>
          <p:cNvPr id="32" name="Rectangle 14"/>
          <p:cNvSpPr/>
          <p:nvPr userDrawn="1"/>
        </p:nvSpPr>
        <p:spPr>
          <a:xfrm>
            <a:off x="6536183" y="3124519"/>
            <a:ext cx="4156899" cy="923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凯捷集团在全世界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40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多个国家和地区拥有超过</a:t>
            </a:r>
            <a:r>
              <a:rPr lang="en-US" altLang="zh-CN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20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万名员工。凯捷是一家全球领先的管理咨询、信息技术和外包服务提供商，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201</a:t>
            </a:r>
            <a:r>
              <a:rPr lang="en-US" altLang="zh-CN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7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年集团全球营收达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12</a:t>
            </a:r>
            <a:r>
              <a:rPr lang="en-US" altLang="zh-CN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8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亿欧元。凯捷与客户一道，创造和提供符合需要的商业、技术及数字化解决方案，帮助客户提升创新与竞争力。作为一家具有深厚多元文化底蕴的公司，凯捷开发了其独有的</a:t>
            </a:r>
            <a:r>
              <a:rPr lang="zh-CN" altLang="en-US" sz="1000" kern="1200" dirty="0">
                <a:solidFill>
                  <a:schemeClr val="tx2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协同业务体验</a:t>
            </a:r>
            <a:r>
              <a:rPr lang="en-US" sz="1000" kern="1200" dirty="0">
                <a:solidFill>
                  <a:schemeClr val="tx2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™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工作方式，并有效利用</a:t>
            </a:r>
            <a:r>
              <a:rPr lang="zh-CN" altLang="en-US" sz="1000" kern="1200" dirty="0">
                <a:solidFill>
                  <a:schemeClr val="tx2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全球交付模式</a:t>
            </a:r>
            <a:r>
              <a:rPr lang="en-US" sz="1000" kern="1200" dirty="0" err="1">
                <a:solidFill>
                  <a:schemeClr val="tx2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Rightshore</a:t>
            </a:r>
            <a:r>
              <a:rPr lang="en-US" sz="1000" kern="1200" dirty="0">
                <a:solidFill>
                  <a:schemeClr val="tx2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®</a:t>
            </a:r>
            <a:r>
              <a:rPr lang="zh-CN" altLang="en-US" sz="10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。</a:t>
            </a:r>
            <a:endParaRPr lang="en-US" sz="1000" kern="1200" dirty="0">
              <a:solidFill>
                <a:schemeClr val="tx1"/>
              </a:solidFill>
              <a:effectLst/>
              <a:latin typeface="思源黑体 CN Light" panose="020B0300000000000000" charset="-122"/>
              <a:ea typeface="思源黑体 CN Light" panose="020B0300000000000000" charset="-122"/>
              <a:cs typeface="思源黑体 CN Light" panose="020B0300000000000000" charset="-122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6551799" y="4197548"/>
            <a:ext cx="2224112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ts val="1200"/>
              </a:lnSpc>
              <a:spcAft>
                <a:spcPts val="600"/>
              </a:spcAft>
            </a:pPr>
            <a:r>
              <a:rPr lang="zh-CN" altLang="en-US" sz="800" dirty="0">
                <a:solidFill>
                  <a:schemeClr val="tx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了解更多详情，请访问</a:t>
            </a:r>
            <a:endParaRPr lang="en-US" sz="800" dirty="0">
              <a:solidFill>
                <a:schemeClr val="tx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思源黑体 CN Bold" panose="020B0800000000000000" pitchFamily="34" charset="-122"/>
            </a:endParaRPr>
          </a:p>
          <a:p>
            <a:pPr algn="just">
              <a:lnSpc>
                <a:spcPts val="1200"/>
              </a:lnSpc>
            </a:pPr>
            <a:r>
              <a:rPr lang="en-US" sz="1100" kern="1200" dirty="0">
                <a:solidFill>
                  <a:schemeClr val="accent2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思源黑体 CN Bold" panose="020B0800000000000000" pitchFamily="34" charset="-122"/>
              </a:rPr>
              <a:t>www.capgemini.com.cn</a:t>
            </a:r>
            <a:endParaRPr lang="en-US" sz="1100" kern="1200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思源黑体 CN Bold" panose="020B0800000000000000" pitchFamily="34" charset="-122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566049" y="5940469"/>
            <a:ext cx="5219699" cy="18415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zh-CN" altLang="en-US" sz="600" kern="1200" dirty="0">
                <a:solidFill>
                  <a:schemeClr val="tx1"/>
                </a:solidFill>
                <a:effectLst/>
                <a:latin typeface="思源黑体 CN Light" panose="020B0300000000000000" charset="-122"/>
                <a:ea typeface="思源黑体 CN Light" panose="020B0300000000000000" charset="-122"/>
                <a:cs typeface="思源黑体 CN Light" panose="020B0300000000000000" charset="-122"/>
              </a:rPr>
              <a:t>此消息只适用于定向向其发送消息的收件人。 如果您不是预期的收件人，则您无法被授权阅读，打印，保留，复制，传播，分发或使用该消息或其任何部分内容。 如果您收到错误的消息，请立即通知发件人并删除此消息的所有副本。</a:t>
            </a:r>
            <a:endParaRPr lang="en-US" sz="600" kern="1200" dirty="0">
              <a:solidFill>
                <a:schemeClr val="tx1"/>
              </a:solidFill>
              <a:effectLst/>
              <a:latin typeface="思源黑体 CN Light" panose="020B0300000000000000" charset="-122"/>
              <a:ea typeface="思源黑体 CN Light" panose="020B0300000000000000" charset="-122"/>
              <a:cs typeface="思源黑体 CN Light" panose="020B0300000000000000" charset="-122"/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3536315"/>
            <a:ext cx="12192000" cy="33216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19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8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/>
          <p:cNvPicPr>
            <a:picLocks noChangeAspect="1"/>
          </p:cNvPicPr>
          <p:nvPr userDrawn="1"/>
        </p:nvPicPr>
        <p:blipFill>
          <a:blip r:embed="rId2"/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3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075612" y="12684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075612" y="19275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075612" y="25866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2" y="3245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075612" y="39049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075612" y="45640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075612" y="52231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8075612" y="58822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8" name="Picture Placeholder 47"/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5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1"/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Shapes - Layout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-12065" y="1327785"/>
            <a:ext cx="12216130" cy="310896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3"/>
          <p:cNvSpPr/>
          <p:nvPr userDrawn="1"/>
        </p:nvSpPr>
        <p:spPr>
          <a:xfrm>
            <a:off x="0" y="0"/>
            <a:ext cx="7053580" cy="6854190"/>
          </a:xfrm>
          <a:custGeom>
            <a:avLst/>
            <a:gdLst>
              <a:gd name="connsiteX0" fmla="*/ 0 w 6664528"/>
              <a:gd name="connsiteY0" fmla="*/ 0 h 6476187"/>
              <a:gd name="connsiteX1" fmla="*/ 0 w 6664528"/>
              <a:gd name="connsiteY1" fmla="*/ 6476187 h 6476187"/>
              <a:gd name="connsiteX2" fmla="*/ 6664528 w 6664528"/>
              <a:gd name="connsiteY2" fmla="*/ 6476187 h 6476187"/>
              <a:gd name="connsiteX3" fmla="*/ 89636 w 6664528"/>
              <a:gd name="connsiteY3" fmla="*/ 0 h 6476187"/>
              <a:gd name="connsiteX4" fmla="*/ 0 w 6664528"/>
              <a:gd name="connsiteY4" fmla="*/ 0 h 6476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6664528" h="6476187">
                <a:moveTo>
                  <a:pt x="0" y="0"/>
                </a:moveTo>
                <a:lnTo>
                  <a:pt x="0" y="6476187"/>
                </a:lnTo>
                <a:lnTo>
                  <a:pt x="6664528" y="6476187"/>
                </a:lnTo>
                <a:lnTo>
                  <a:pt x="89636" y="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/>
          <p:cNvSpPr/>
          <p:nvPr userDrawn="1"/>
        </p:nvSpPr>
        <p:spPr>
          <a:xfrm>
            <a:off x="5550122" y="732974"/>
            <a:ext cx="6641878" cy="6125027"/>
          </a:xfrm>
          <a:custGeom>
            <a:avLst/>
            <a:gdLst>
              <a:gd name="connsiteX0" fmla="*/ 4389354 w 6641878"/>
              <a:gd name="connsiteY0" fmla="*/ 775 h 6125027"/>
              <a:gd name="connsiteX1" fmla="*/ 6309188 w 6641878"/>
              <a:gd name="connsiteY1" fmla="*/ 158122 h 6125027"/>
              <a:gd name="connsiteX2" fmla="*/ 6641878 w 6641878"/>
              <a:gd name="connsiteY2" fmla="*/ 218708 h 6125027"/>
              <a:gd name="connsiteX3" fmla="*/ 6641878 w 6641878"/>
              <a:gd name="connsiteY3" fmla="*/ 6125027 h 6125027"/>
              <a:gd name="connsiteX4" fmla="*/ 0 w 6641878"/>
              <a:gd name="connsiteY4" fmla="*/ 6125027 h 6125027"/>
              <a:gd name="connsiteX5" fmla="*/ 90624 w 6641878"/>
              <a:gd name="connsiteY5" fmla="*/ 5875088 h 6125027"/>
              <a:gd name="connsiteX6" fmla="*/ 3403890 w 6641878"/>
              <a:gd name="connsiteY6" fmla="*/ 22965 h 6125027"/>
              <a:gd name="connsiteX7" fmla="*/ 4389354 w 6641878"/>
              <a:gd name="connsiteY7" fmla="*/ 775 h 61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1878" h="6125027">
                <a:moveTo>
                  <a:pt x="4389354" y="775"/>
                </a:moveTo>
                <a:cubicBezTo>
                  <a:pt x="5042595" y="7500"/>
                  <a:pt x="5686424" y="58155"/>
                  <a:pt x="6309188" y="158122"/>
                </a:cubicBezTo>
                <a:lnTo>
                  <a:pt x="6641878" y="218708"/>
                </a:lnTo>
                <a:lnTo>
                  <a:pt x="6641878" y="6125027"/>
                </a:lnTo>
                <a:lnTo>
                  <a:pt x="0" y="6125027"/>
                </a:lnTo>
                <a:lnTo>
                  <a:pt x="90624" y="5875088"/>
                </a:lnTo>
                <a:cubicBezTo>
                  <a:pt x="963229" y="3633055"/>
                  <a:pt x="2980348" y="1576261"/>
                  <a:pt x="3403890" y="22965"/>
                </a:cubicBezTo>
                <a:cubicBezTo>
                  <a:pt x="3733760" y="5034"/>
                  <a:pt x="4062734" y="-2587"/>
                  <a:pt x="4389354" y="775"/>
                </a:cubicBezTo>
                <a:close/>
              </a:path>
            </a:pathLst>
          </a:custGeom>
          <a:solidFill>
            <a:srgbClr val="FF3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044699" y="3913792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044699" y="5111406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1413990"/>
            <a:ext cx="629789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044699" y="2611604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392144" y="5276721"/>
            <a:ext cx="4391869" cy="729525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ts val="18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  <a:endParaRPr lang="en-US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5" hasCustomPrompt="1"/>
          </p:nvPr>
        </p:nvSpPr>
        <p:spPr>
          <a:xfrm>
            <a:off x="7392144" y="4140764"/>
            <a:ext cx="4391869" cy="974725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1" name="Retângulo 43"/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 userDrawn="1"/>
        </p:nvSpPr>
        <p:spPr>
          <a:xfrm>
            <a:off x="0" y="2132856"/>
            <a:ext cx="8904312" cy="4725144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36" name="Text Placeholder 30"/>
          <p:cNvSpPr>
            <a:spLocks noGrp="1"/>
          </p:cNvSpPr>
          <p:nvPr>
            <p:ph type="body" sz="quarter" idx="22" hasCustomPrompt="1"/>
          </p:nvPr>
        </p:nvSpPr>
        <p:spPr>
          <a:xfrm>
            <a:off x="8766493" y="1370345"/>
            <a:ext cx="3017520" cy="4684811"/>
          </a:xfrm>
          <a:prstGeom prst="rect">
            <a:avLst/>
          </a:prstGeom>
        </p:spPr>
        <p:txBody>
          <a:bodyPr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 typeface="Wingdings" panose="05000000000000000000" pitchFamily="2" charset="2"/>
              <a:buChar char="§"/>
              <a:defRPr sz="140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endParaRPr lang="en-US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766493" y="948199"/>
            <a:ext cx="3017520" cy="41236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defRPr sz="1600" b="1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95898" y="948199"/>
            <a:ext cx="3017520" cy="41236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defRPr sz="1600" b="1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4963915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601839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spcAft>
                <a:spcPts val="0"/>
              </a:spcAft>
              <a:defRPr sz="1800" b="1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029586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286886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5393774" y="1370346"/>
            <a:ext cx="3017520" cy="1951038"/>
          </a:xfrm>
          <a:prstGeom prst="rect">
            <a:avLst/>
          </a:prstGeom>
        </p:spPr>
        <p:txBody>
          <a:bodyPr>
            <a:noAutofit/>
          </a:bodyPr>
          <a:lstStyle>
            <a:lvl1pPr marL="233680" marR="0" indent="-23368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 typeface="Wingdings" panose="05000000000000000000" pitchFamily="2" charset="2"/>
              <a:buChar char="§"/>
              <a:defRPr sz="140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endParaRPr lang="en-US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406896" y="3683544"/>
            <a:ext cx="3017520" cy="412363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defRPr sz="1600" b="1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  <a:endParaRPr lang="en-US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5404772" y="4105691"/>
            <a:ext cx="3017520" cy="1951038"/>
          </a:xfrm>
          <a:prstGeom prst="rect">
            <a:avLst/>
          </a:prstGeom>
        </p:spPr>
        <p:txBody>
          <a:bodyPr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 typeface="Wingdings" panose="05000000000000000000" pitchFamily="2" charset="2"/>
              <a:buChar char="§"/>
              <a:defRPr sz="1400"/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US" dirty="0"/>
              <a:t>Click to insert bullet point</a:t>
            </a:r>
            <a:endParaRPr lang="en-US" dirty="0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Char char="•"/>
              <a:defRPr/>
            </a:pPr>
            <a:endParaRPr lang="en-US" dirty="0"/>
          </a:p>
        </p:txBody>
      </p:sp>
      <p:sp>
        <p:nvSpPr>
          <p:cNvPr id="14" name="Retângulo 43"/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1"/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1424920" y="116840"/>
            <a:ext cx="647700" cy="5759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US" noProof="0" dirty="0"/>
          </a:p>
        </p:txBody>
      </p:sp>
      <p:sp>
        <p:nvSpPr>
          <p:cNvPr id="5" name="Rectangle 27">
            <a:hlinkClick r:id="rId6"/>
          </p:cNvPr>
          <p:cNvSpPr/>
          <p:nvPr userDrawn="1"/>
        </p:nvSpPr>
        <p:spPr>
          <a:xfrm>
            <a:off x="571967" y="6557756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altLang="zh-CN" sz="700" kern="0" baseline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Germany Travel Letter </a:t>
            </a:r>
            <a:r>
              <a:rPr lang="en-US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| November </a:t>
            </a:r>
            <a:r>
              <a:rPr lang="en-US" altLang="zh-CN" sz="700" kern="0" dirty="0">
                <a:solidFill>
                  <a:srgbClr val="00458D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8</a:t>
            </a:r>
            <a:endParaRPr lang="en-US" sz="700" kern="0" dirty="0">
              <a:solidFill>
                <a:srgbClr val="00458D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Retângulo 43"/>
          <p:cNvSpPr/>
          <p:nvPr userDrawn="1"/>
        </p:nvSpPr>
        <p:spPr>
          <a:xfrm>
            <a:off x="9200906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  <a:endParaRPr lang="en-US" sz="8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5"/>
          <p:cNvSpPr/>
          <p:nvPr userDrawn="1"/>
        </p:nvSpPr>
        <p:spPr>
          <a:xfrm>
            <a:off x="11424592" y="6405882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02E5A9-B53C-401E-A0E0-4A359BB0A9E5}" type="slidenum">
              <a:rPr lang="en-US" sz="900" kern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90247" y="292608"/>
            <a:ext cx="9982217" cy="3600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pt-PT" sz="2600" b="1" dirty="0">
                <a:latin typeface="Calibri" panose="020F0502020204030204" pitchFamily="34" charset="0"/>
                <a:ea typeface="微软雅黑" panose="020B0503020204020204" charset="-122"/>
              </a:defRPr>
            </a:lvl1pPr>
          </a:lstStyle>
          <a:p>
            <a:pPr lvl="0"/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8" name="Freeform 13"/>
          <p:cNvSpPr/>
          <p:nvPr userDrawn="1"/>
        </p:nvSpPr>
        <p:spPr bwMode="auto">
          <a:xfrm>
            <a:off x="11644642" y="334376"/>
            <a:ext cx="275896" cy="226185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11" name="Freeform 14"/>
          <p:cNvSpPr/>
          <p:nvPr userDrawn="1"/>
        </p:nvSpPr>
        <p:spPr bwMode="auto">
          <a:xfrm>
            <a:off x="11501102" y="171573"/>
            <a:ext cx="419436" cy="356676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Fill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43981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Placeholder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9" r="32420"/>
          <a:stretch>
            <a:fillRect/>
          </a:stretch>
        </p:blipFill>
        <p:spPr>
          <a:xfrm>
            <a:off x="4253790" y="-2148"/>
            <a:ext cx="7938210" cy="6898276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068960"/>
            <a:ext cx="6696124" cy="337538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000"/>
              </a:lnSpc>
              <a:spcAft>
                <a:spcPts val="1800"/>
              </a:spcAft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  <a:endParaRPr lang="pt-PT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88" y="2002973"/>
            <a:ext cx="10044635" cy="85953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6" name="Retângulo 43"/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" name="Retângulo 43"/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</a:t>
            </a:r>
            <a:r>
              <a:rPr lang="en-US" altLang="zh-CN" sz="800" dirty="0">
                <a:solidFill>
                  <a:schemeClr val="bg1"/>
                </a:solidFill>
                <a:cs typeface="Arial" panose="020B0604020202020204" pitchFamily="34" charset="0"/>
              </a:rPr>
              <a:t>8</a:t>
            </a:r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 Capgemini. All rights reserved.</a:t>
            </a:r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9" name="Conector reto 49"/>
          <p:cNvCxnSpPr/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27">
            <a:hlinkClick r:id="rId3"/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  <a:endParaRPr lang="en-US" sz="800" kern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6" Type="http://schemas.openxmlformats.org/officeDocument/2006/relationships/theme" Target="../theme/theme1.xml"/><Relationship Id="rId25" Type="http://schemas.openxmlformats.org/officeDocument/2006/relationships/image" Target="../media/image2.png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1.xml"/><Relationship Id="rId64" Type="http://schemas.openxmlformats.org/officeDocument/2006/relationships/theme" Target="../theme/theme2.xml"/><Relationship Id="rId63" Type="http://schemas.openxmlformats.org/officeDocument/2006/relationships/vmlDrawing" Target="../drawings/vmlDrawing38.vml"/><Relationship Id="rId62" Type="http://schemas.openxmlformats.org/officeDocument/2006/relationships/image" Target="../media/image13.emf"/><Relationship Id="rId61" Type="http://schemas.openxmlformats.org/officeDocument/2006/relationships/oleObject" Target="../embeddings/oleObject39.bin"/><Relationship Id="rId60" Type="http://schemas.openxmlformats.org/officeDocument/2006/relationships/tags" Target="../tags/tag61.xml"/><Relationship Id="rId6" Type="http://schemas.openxmlformats.org/officeDocument/2006/relationships/slideLayout" Target="../slideLayouts/slideLayout30.xml"/><Relationship Id="rId59" Type="http://schemas.openxmlformats.org/officeDocument/2006/relationships/slideLayout" Target="../slideLayouts/slideLayout83.xml"/><Relationship Id="rId58" Type="http://schemas.openxmlformats.org/officeDocument/2006/relationships/slideLayout" Target="../slideLayouts/slideLayout82.xml"/><Relationship Id="rId57" Type="http://schemas.openxmlformats.org/officeDocument/2006/relationships/slideLayout" Target="../slideLayouts/slideLayout81.xml"/><Relationship Id="rId56" Type="http://schemas.openxmlformats.org/officeDocument/2006/relationships/slideLayout" Target="../slideLayouts/slideLayout80.xml"/><Relationship Id="rId55" Type="http://schemas.openxmlformats.org/officeDocument/2006/relationships/slideLayout" Target="../slideLayouts/slideLayout79.xml"/><Relationship Id="rId54" Type="http://schemas.openxmlformats.org/officeDocument/2006/relationships/slideLayout" Target="../slideLayouts/slideLayout78.xml"/><Relationship Id="rId53" Type="http://schemas.openxmlformats.org/officeDocument/2006/relationships/slideLayout" Target="../slideLayouts/slideLayout77.xml"/><Relationship Id="rId52" Type="http://schemas.openxmlformats.org/officeDocument/2006/relationships/slideLayout" Target="../slideLayouts/slideLayout76.xml"/><Relationship Id="rId51" Type="http://schemas.openxmlformats.org/officeDocument/2006/relationships/slideLayout" Target="../slideLayouts/slideLayout75.xml"/><Relationship Id="rId50" Type="http://schemas.openxmlformats.org/officeDocument/2006/relationships/slideLayout" Target="../slideLayouts/slideLayout74.xml"/><Relationship Id="rId5" Type="http://schemas.openxmlformats.org/officeDocument/2006/relationships/slideLayout" Target="../slideLayouts/slideLayout29.xml"/><Relationship Id="rId49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71.xml"/><Relationship Id="rId46" Type="http://schemas.openxmlformats.org/officeDocument/2006/relationships/slideLayout" Target="../slideLayouts/slideLayout70.xml"/><Relationship Id="rId45" Type="http://schemas.openxmlformats.org/officeDocument/2006/relationships/slideLayout" Target="../slideLayouts/slideLayout69.xml"/><Relationship Id="rId44" Type="http://schemas.openxmlformats.org/officeDocument/2006/relationships/slideLayout" Target="../slideLayouts/slideLayout68.xml"/><Relationship Id="rId43" Type="http://schemas.openxmlformats.org/officeDocument/2006/relationships/slideLayout" Target="../slideLayouts/slideLayout67.xml"/><Relationship Id="rId42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65.xml"/><Relationship Id="rId4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28.xml"/><Relationship Id="rId39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60.xml"/><Relationship Id="rId35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4.xml"/><Relationship Id="rId3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9" name="Graphic 4"/>
          <p:cNvPicPr>
            <a:picLocks noChangeAspect="1"/>
          </p:cNvPicPr>
          <p:nvPr userDrawn="1"/>
        </p:nvPicPr>
        <p:blipFill rotWithShape="1">
          <a:blip r:embed="rId25"/>
          <a:srcRect l="81836" t="-4713" b="16530"/>
          <a:stretch>
            <a:fillRect/>
          </a:stretch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  <a:endParaRPr lang="en-US" sz="600" b="1" dirty="0"/>
          </a:p>
          <a:p>
            <a:pPr marL="171450"/>
            <a:r>
              <a:rPr lang="en-US" sz="600" dirty="0"/>
              <a:t>R 0</a:t>
            </a:r>
            <a:endParaRPr lang="en-US" sz="600" dirty="0"/>
          </a:p>
          <a:p>
            <a:pPr marL="171450"/>
            <a:r>
              <a:rPr lang="en-US" sz="600" dirty="0"/>
              <a:t>G 112</a:t>
            </a:r>
            <a:endParaRPr lang="en-US" sz="600" dirty="0"/>
          </a:p>
          <a:p>
            <a:pPr marL="171450"/>
            <a:r>
              <a:rPr lang="en-US" sz="600" dirty="0"/>
              <a:t>B 173</a:t>
            </a:r>
            <a:endParaRPr lang="en-US" sz="60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endParaRPr lang="en-US" sz="600" b="1" dirty="0"/>
          </a:p>
          <a:p>
            <a:pPr marL="171450"/>
            <a:r>
              <a:rPr lang="en-US" sz="600" dirty="0"/>
              <a:t>R 18</a:t>
            </a:r>
            <a:endParaRPr lang="en-US" sz="600" dirty="0"/>
          </a:p>
          <a:p>
            <a:pPr marL="171450"/>
            <a:r>
              <a:rPr lang="en-US" sz="600" dirty="0"/>
              <a:t>G 171</a:t>
            </a:r>
            <a:endParaRPr lang="en-US" sz="600" dirty="0"/>
          </a:p>
          <a:p>
            <a:pPr marL="171450"/>
            <a:r>
              <a:rPr lang="en-US" sz="600" dirty="0"/>
              <a:t>B 219</a:t>
            </a:r>
            <a:endParaRPr lang="en-US" sz="600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  <a:endParaRPr lang="en-US" sz="600" b="1" dirty="0"/>
          </a:p>
          <a:p>
            <a:pPr marL="171450"/>
            <a:r>
              <a:rPr lang="en-US" sz="600" dirty="0"/>
              <a:t>R 43</a:t>
            </a:r>
            <a:endParaRPr lang="en-US" sz="600" dirty="0"/>
          </a:p>
          <a:p>
            <a:pPr marL="171450"/>
            <a:r>
              <a:rPr lang="en-US" sz="600" dirty="0"/>
              <a:t>G 10</a:t>
            </a:r>
            <a:endParaRPr lang="en-US" sz="600" dirty="0"/>
          </a:p>
          <a:p>
            <a:pPr marL="171450"/>
            <a:r>
              <a:rPr lang="en-US" sz="600" dirty="0"/>
              <a:t>B 61</a:t>
            </a:r>
            <a:endParaRPr lang="en-US" sz="6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  <a:endParaRPr lang="en-US" sz="600" b="1" dirty="0"/>
          </a:p>
          <a:p>
            <a:pPr marL="171450"/>
            <a:r>
              <a:rPr lang="en-US" sz="600" dirty="0"/>
              <a:t>R 255</a:t>
            </a:r>
            <a:endParaRPr lang="en-US" sz="600" dirty="0"/>
          </a:p>
          <a:p>
            <a:pPr marL="171450"/>
            <a:r>
              <a:rPr lang="en-US" sz="600" dirty="0"/>
              <a:t>G 48</a:t>
            </a:r>
            <a:endParaRPr lang="en-US" sz="600" dirty="0"/>
          </a:p>
          <a:p>
            <a:pPr marL="171450"/>
            <a:r>
              <a:rPr lang="en-US" sz="600" dirty="0"/>
              <a:t>B 76</a:t>
            </a:r>
            <a:endParaRPr lang="en-US" sz="6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  <a:endParaRPr lang="en-US" sz="600" b="1" dirty="0"/>
          </a:p>
          <a:p>
            <a:pPr marL="171450"/>
            <a:r>
              <a:rPr lang="en-US" sz="600" dirty="0"/>
              <a:t>R 149</a:t>
            </a:r>
            <a:endParaRPr lang="en-US" sz="600" dirty="0"/>
          </a:p>
          <a:p>
            <a:pPr marL="171450"/>
            <a:r>
              <a:rPr lang="en-US" sz="600" dirty="0"/>
              <a:t>G 230</a:t>
            </a:r>
            <a:endParaRPr lang="en-US" sz="600" dirty="0"/>
          </a:p>
          <a:p>
            <a:pPr marL="171450"/>
            <a:r>
              <a:rPr lang="en-US" sz="600" dirty="0"/>
              <a:t>B 22</a:t>
            </a:r>
            <a:endParaRPr lang="en-US" sz="6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9055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  <a:endParaRPr lang="en-US" sz="600" dirty="0"/>
          </a:p>
          <a:p>
            <a:pPr marL="171450"/>
            <a:r>
              <a:rPr lang="en-US" sz="600" dirty="0"/>
              <a:t>R 128</a:t>
            </a:r>
            <a:endParaRPr lang="en-US" sz="600" dirty="0"/>
          </a:p>
          <a:p>
            <a:pPr marL="171450"/>
            <a:r>
              <a:rPr lang="en-US" sz="600" dirty="0"/>
              <a:t>G 184</a:t>
            </a:r>
            <a:endParaRPr lang="en-US" sz="600" dirty="0"/>
          </a:p>
          <a:p>
            <a:pPr marL="171450"/>
            <a:r>
              <a:rPr lang="en-US" sz="600" dirty="0"/>
              <a:t>B 214</a:t>
            </a:r>
            <a:endParaRPr lang="en-US" sz="6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9055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  <a:endParaRPr lang="en-US" sz="600" dirty="0"/>
          </a:p>
          <a:p>
            <a:pPr marL="171450"/>
            <a:r>
              <a:rPr lang="en-US" sz="600" dirty="0"/>
              <a:t>R 136</a:t>
            </a:r>
            <a:endParaRPr lang="en-US" sz="600" dirty="0"/>
          </a:p>
          <a:p>
            <a:pPr marL="171450"/>
            <a:r>
              <a:rPr lang="en-US" sz="600" dirty="0"/>
              <a:t>G 213</a:t>
            </a:r>
            <a:endParaRPr lang="en-US" sz="600" dirty="0"/>
          </a:p>
          <a:p>
            <a:pPr marL="171450"/>
            <a:r>
              <a:rPr lang="en-US" sz="600" dirty="0"/>
              <a:t>B 237</a:t>
            </a:r>
            <a:endParaRPr lang="en-US" sz="600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  <a:endParaRPr lang="en-US" sz="600" b="1" dirty="0"/>
          </a:p>
          <a:p>
            <a:pPr marL="171450"/>
            <a:r>
              <a:rPr lang="en-US" sz="600" dirty="0"/>
              <a:t>R 109</a:t>
            </a:r>
            <a:endParaRPr lang="en-US" sz="600" dirty="0"/>
          </a:p>
          <a:p>
            <a:pPr marL="171450"/>
            <a:r>
              <a:rPr lang="en-US" sz="600" dirty="0"/>
              <a:t>G 100</a:t>
            </a:r>
            <a:endParaRPr lang="en-US" sz="600" dirty="0"/>
          </a:p>
          <a:p>
            <a:pPr marL="171450"/>
            <a:r>
              <a:rPr lang="en-US" sz="600" dirty="0"/>
              <a:t>B 204</a:t>
            </a:r>
            <a:endParaRPr lang="en-US" sz="600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  <a:endParaRPr lang="en-US" sz="600" b="1" dirty="0"/>
          </a:p>
          <a:p>
            <a:pPr marL="171450"/>
            <a:r>
              <a:rPr lang="en-US" sz="600" dirty="0"/>
              <a:t>R 255</a:t>
            </a:r>
            <a:endParaRPr lang="en-US" sz="600" dirty="0"/>
          </a:p>
          <a:p>
            <a:pPr marL="171450"/>
            <a:r>
              <a:rPr lang="en-US" sz="600" dirty="0"/>
              <a:t>G 99</a:t>
            </a:r>
            <a:endParaRPr lang="en-US" sz="600" dirty="0"/>
          </a:p>
          <a:p>
            <a:pPr marL="171450"/>
            <a:r>
              <a:rPr lang="en-US" sz="600" dirty="0"/>
              <a:t>B 39</a:t>
            </a:r>
            <a:endParaRPr lang="en-US" sz="600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  <a:endParaRPr lang="en-US" sz="600" b="1" dirty="0"/>
          </a:p>
          <a:p>
            <a:pPr marL="171450"/>
            <a:r>
              <a:rPr lang="en-US" sz="600" dirty="0"/>
              <a:t>R 200</a:t>
            </a:r>
            <a:endParaRPr lang="en-US" sz="600" dirty="0"/>
          </a:p>
          <a:p>
            <a:pPr marL="171450"/>
            <a:r>
              <a:rPr lang="en-US" sz="600" dirty="0"/>
              <a:t>G 255</a:t>
            </a:r>
            <a:endParaRPr lang="en-US" sz="600" dirty="0"/>
          </a:p>
          <a:p>
            <a:pPr marL="171450"/>
            <a:r>
              <a:rPr lang="en-US" sz="600" dirty="0"/>
              <a:t>B 22</a:t>
            </a:r>
            <a:endParaRPr lang="en-US" sz="60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  <a:endParaRPr lang="en-US" sz="600" b="1" dirty="0"/>
          </a:p>
          <a:p>
            <a:pPr marL="171450"/>
            <a:r>
              <a:rPr lang="en-US" sz="600" dirty="0"/>
              <a:t>R 126</a:t>
            </a:r>
            <a:endParaRPr lang="en-US" sz="600" dirty="0"/>
          </a:p>
          <a:p>
            <a:pPr marL="171450"/>
            <a:r>
              <a:rPr lang="en-US" sz="600" dirty="0"/>
              <a:t>G 57</a:t>
            </a:r>
            <a:endParaRPr lang="en-US" sz="600" dirty="0"/>
          </a:p>
          <a:p>
            <a:pPr marL="171450"/>
            <a:r>
              <a:rPr lang="en-US" sz="600" dirty="0"/>
              <a:t>B 186</a:t>
            </a:r>
            <a:endParaRPr lang="en-US" sz="6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  <a:endParaRPr lang="en-US" sz="600" b="1" dirty="0"/>
          </a:p>
          <a:p>
            <a:pPr marL="171450"/>
            <a:r>
              <a:rPr lang="en-US" sz="600" dirty="0"/>
              <a:t>R 0</a:t>
            </a:r>
            <a:endParaRPr lang="en-US" sz="600" dirty="0"/>
          </a:p>
          <a:p>
            <a:pPr marL="171450"/>
            <a:r>
              <a:rPr lang="en-US" sz="600" dirty="0"/>
              <a:t>G 195</a:t>
            </a:r>
            <a:endParaRPr lang="en-US" sz="600" dirty="0"/>
          </a:p>
          <a:p>
            <a:pPr marL="171450"/>
            <a:r>
              <a:rPr lang="en-US" sz="600" dirty="0"/>
              <a:t>B 123</a:t>
            </a:r>
            <a:endParaRPr lang="en-US" sz="600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  <a:endParaRPr lang="en-US" sz="600" b="1" dirty="0"/>
          </a:p>
          <a:p>
            <a:pPr marL="171450"/>
            <a:r>
              <a:rPr lang="en-US" sz="600" dirty="0"/>
              <a:t>R 21</a:t>
            </a:r>
            <a:endParaRPr lang="en-US" sz="600" dirty="0"/>
          </a:p>
          <a:p>
            <a:pPr marL="171450"/>
            <a:r>
              <a:rPr lang="en-US" sz="600" dirty="0"/>
              <a:t>G 99</a:t>
            </a:r>
            <a:endParaRPr lang="en-US" sz="600" dirty="0"/>
          </a:p>
          <a:p>
            <a:pPr marL="171450"/>
            <a:r>
              <a:rPr lang="en-US" sz="600" dirty="0"/>
              <a:t>B 107</a:t>
            </a:r>
            <a:endParaRPr lang="en-US" sz="600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  <a:endParaRPr lang="en-US" sz="600" b="1" dirty="0"/>
          </a:p>
          <a:p>
            <a:pPr marL="171450"/>
            <a:r>
              <a:rPr lang="en-US" sz="600" dirty="0"/>
              <a:t>R 15</a:t>
            </a:r>
            <a:endParaRPr lang="en-US" sz="600" dirty="0"/>
          </a:p>
          <a:p>
            <a:pPr marL="171450"/>
            <a:r>
              <a:rPr lang="en-US" sz="600" dirty="0"/>
              <a:t>G 153</a:t>
            </a:r>
            <a:endParaRPr lang="en-US" sz="600" dirty="0"/>
          </a:p>
          <a:p>
            <a:pPr marL="171450"/>
            <a:r>
              <a:rPr lang="en-US" sz="600" dirty="0"/>
              <a:t>B 156</a:t>
            </a:r>
            <a:endParaRPr lang="en-US" sz="600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  <a:endParaRPr lang="en-US" sz="600" b="1" dirty="0"/>
          </a:p>
          <a:p>
            <a:pPr marL="171450"/>
            <a:r>
              <a:rPr lang="en-US" sz="600" dirty="0"/>
              <a:t>R 1</a:t>
            </a:r>
            <a:endParaRPr lang="en-US" sz="600" dirty="0"/>
          </a:p>
          <a:p>
            <a:pPr marL="171450"/>
            <a:r>
              <a:rPr lang="en-US" sz="600" dirty="0"/>
              <a:t>G 209</a:t>
            </a:r>
            <a:endParaRPr lang="en-US" sz="600" dirty="0"/>
          </a:p>
          <a:p>
            <a:pPr marL="171450"/>
            <a:r>
              <a:rPr lang="en-US" sz="600" dirty="0"/>
              <a:t>B 208</a:t>
            </a:r>
            <a:endParaRPr lang="en-US" sz="600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  <a:endParaRPr lang="en-US" sz="600" b="1" dirty="0"/>
          </a:p>
          <a:p>
            <a:pPr marL="171450"/>
            <a:r>
              <a:rPr lang="en-US" sz="600" dirty="0"/>
              <a:t>R 255</a:t>
            </a:r>
            <a:endParaRPr lang="en-US" sz="600" dirty="0"/>
          </a:p>
          <a:p>
            <a:pPr marL="171450"/>
            <a:r>
              <a:rPr lang="en-US" sz="600" dirty="0"/>
              <a:t>G 126</a:t>
            </a:r>
            <a:endParaRPr lang="en-US" sz="600" dirty="0"/>
          </a:p>
          <a:p>
            <a:pPr marL="171450"/>
            <a:r>
              <a:rPr lang="en-US" sz="600" dirty="0"/>
              <a:t>B 131</a:t>
            </a:r>
            <a:endParaRPr lang="en-US" sz="600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  <a:endParaRPr lang="en-US" sz="600" b="1" dirty="0"/>
          </a:p>
          <a:p>
            <a:pPr marL="171450"/>
            <a:r>
              <a:rPr lang="en-US" sz="600" dirty="0"/>
              <a:t>R 203</a:t>
            </a:r>
            <a:endParaRPr lang="en-US" sz="600" dirty="0"/>
          </a:p>
          <a:p>
            <a:pPr marL="171450"/>
            <a:r>
              <a:rPr lang="en-US" sz="600" dirty="0"/>
              <a:t>G 41</a:t>
            </a:r>
            <a:endParaRPr lang="en-US" sz="600" dirty="0"/>
          </a:p>
          <a:p>
            <a:pPr marL="171450"/>
            <a:r>
              <a:rPr lang="en-US" sz="600" dirty="0"/>
              <a:t>B 128</a:t>
            </a:r>
            <a:endParaRPr lang="en-US" sz="600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  <a:endParaRPr lang="en-US" sz="600" b="1" dirty="0"/>
          </a:p>
          <a:p>
            <a:pPr marL="171450"/>
            <a:r>
              <a:rPr lang="en-US" sz="600" dirty="0"/>
              <a:t>R 134</a:t>
            </a:r>
            <a:endParaRPr lang="en-US" sz="600" dirty="0"/>
          </a:p>
          <a:p>
            <a:pPr marL="171450"/>
            <a:r>
              <a:rPr lang="en-US" sz="600" dirty="0"/>
              <a:t>G 8</a:t>
            </a:r>
            <a:endParaRPr lang="en-US" sz="600" dirty="0"/>
          </a:p>
          <a:p>
            <a:pPr marL="171450"/>
            <a:r>
              <a:rPr lang="en-US" sz="600" dirty="0"/>
              <a:t>B 100</a:t>
            </a:r>
            <a:endParaRPr lang="en-US" sz="600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  <a:endParaRPr lang="en-US" sz="600" b="1" dirty="0"/>
          </a:p>
          <a:p>
            <a:pPr marL="171450"/>
            <a:r>
              <a:rPr lang="en-US" sz="600" dirty="0"/>
              <a:t>R 71</a:t>
            </a:r>
            <a:endParaRPr lang="en-US" sz="600" dirty="0"/>
          </a:p>
          <a:p>
            <a:pPr marL="171450"/>
            <a:r>
              <a:rPr lang="en-US" sz="600" dirty="0"/>
              <a:t>G 1</a:t>
            </a:r>
            <a:endParaRPr lang="en-US" sz="600" dirty="0"/>
          </a:p>
          <a:p>
            <a:pPr marL="171450"/>
            <a:r>
              <a:rPr lang="en-US" sz="600" dirty="0"/>
              <a:t>B 167</a:t>
            </a:r>
            <a:endParaRPr lang="en-US" sz="6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68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415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880" indent="-23368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 userDrawn="1">
            <p:custDataLst>
              <p:tags r:id="rId6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61" imgW="12700" imgH="12700" progId="TCLayout.ActiveDocument.1">
                  <p:embed/>
                </p:oleObj>
              </mc:Choice>
              <mc:Fallback>
                <p:oleObj name="think-cell Slide" r:id="rId61" imgW="12700" imgH="12700" progId="TCLayout.ActiveDocument.1">
                  <p:embed/>
                  <p:pic>
                    <p:nvPicPr>
                      <p:cNvPr id="0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4110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</a:t>
            </a:r>
            <a:r>
              <a:rPr lang="zh-CN" altLang="en-US" dirty="0"/>
              <a:t> </a:t>
            </a:r>
            <a:r>
              <a:rPr lang="en-US" altLang="zh-CN" dirty="0"/>
              <a:t>level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dirty="0"/>
              <a:t>Click to edit Master title style</a:t>
            </a:r>
            <a:endParaRPr lang="en-US" dirty="0"/>
          </a:p>
        </p:txBody>
      </p:sp>
      <p:grpSp>
        <p:nvGrpSpPr>
          <p:cNvPr id="11" name="Groupe 10"/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17" name="Groupe 16"/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8" name="Rectangle 17"/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9055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9055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sp>
        <p:nvSpPr>
          <p:cNvPr id="7" name="Text Placeholder 7"/>
          <p:cNvSpPr txBox="1"/>
          <p:nvPr userDrawn="1"/>
        </p:nvSpPr>
        <p:spPr>
          <a:xfrm>
            <a:off x="8985250" y="6650355"/>
            <a:ext cx="2664460" cy="12319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  <a:cs typeface="Ubuntu" panose="020B0504030602030204" charset="0"/>
              </a:rPr>
              <a:t>© Capgemini 2021. All rights reserved  |</a:t>
            </a:r>
            <a:endParaRPr lang="en-US" dirty="0">
              <a:solidFill>
                <a:schemeClr val="bg2">
                  <a:lumMod val="75000"/>
                </a:schemeClr>
              </a:solidFill>
              <a:latin typeface="Ubuntu" panose="020B0504030602030204" charset="0"/>
              <a:cs typeface="Ubuntu" panose="020B0504030602030204" charset="0"/>
            </a:endParaRPr>
          </a:p>
        </p:txBody>
      </p:sp>
      <p:sp>
        <p:nvSpPr>
          <p:cNvPr id="33" name="Slide Number Placeholder 2"/>
          <p:cNvSpPr>
            <a:spLocks noGrp="1"/>
          </p:cNvSpPr>
          <p:nvPr userDrawn="1"/>
        </p:nvSpPr>
        <p:spPr>
          <a:xfrm>
            <a:off x="11612880" y="6650355"/>
            <a:ext cx="383540" cy="1155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>
                    <a:lumMod val="75000"/>
                  </a:schemeClr>
                </a:solidFill>
                <a:latin typeface="Ubuntu" panose="020B0504030602030204" charset="0"/>
              </a:defRPr>
            </a:lvl1pPr>
          </a:lstStyle>
          <a:p>
            <a:fld id="{82AEB339-35A9-4F89-A7F1-6AA7D19F90C6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  <p:sldLayoutId id="2147483716" r:id="rId43"/>
    <p:sldLayoutId id="2147483717" r:id="rId44"/>
    <p:sldLayoutId id="2147483718" r:id="rId45"/>
    <p:sldLayoutId id="2147483719" r:id="rId46"/>
    <p:sldLayoutId id="2147483720" r:id="rId47"/>
    <p:sldLayoutId id="2147483721" r:id="rId48"/>
    <p:sldLayoutId id="2147483722" r:id="rId49"/>
    <p:sldLayoutId id="2147483723" r:id="rId50"/>
    <p:sldLayoutId id="2147483724" r:id="rId51"/>
    <p:sldLayoutId id="2147483725" r:id="rId52"/>
    <p:sldLayoutId id="2147483726" r:id="rId53"/>
    <p:sldLayoutId id="2147483727" r:id="rId54"/>
    <p:sldLayoutId id="2147483728" r:id="rId55"/>
    <p:sldLayoutId id="2147483729" r:id="rId56"/>
    <p:sldLayoutId id="2147483730" r:id="rId57"/>
    <p:sldLayoutId id="2147483731" r:id="rId58"/>
    <p:sldLayoutId id="2147483732" r:id="rId59"/>
  </p:sldLayoutIdLs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defRPr kumimoji="0" lang="en-US" sz="3000" b="0" i="0" u="none" strike="noStrike" kern="1200" cap="none" spc="0" normalizeH="0" baseline="0" noProof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6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83.xml"/><Relationship Id="rId2" Type="http://schemas.openxmlformats.org/officeDocument/2006/relationships/image" Target="../media/image34.png"/><Relationship Id="rId1" Type="http://schemas.openxmlformats.org/officeDocument/2006/relationships/tags" Target="../tags/tag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184800" y="6523624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2AEB339-35A9-4F89-A7F1-6AA7D19F90C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ECECEC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CECEC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335360" y="1340768"/>
            <a:ext cx="5393055" cy="1079500"/>
          </a:xfrm>
        </p:spPr>
        <p:txBody>
          <a:bodyPr>
            <a:normAutofit/>
          </a:bodyPr>
          <a:lstStyle/>
          <a:p>
            <a:pPr lvl="0"/>
            <a:r>
              <a:rPr lang="en-US" altLang="zh-CN" sz="2800" dirty="0">
                <a:latin typeface="思源黑体 CN Heavy" panose="020B0A00000000000000" charset="-122"/>
                <a:ea typeface="思源黑体 CN Heavy" panose="020B0A00000000000000" charset="-122"/>
              </a:rPr>
              <a:t> </a:t>
            </a:r>
            <a:endParaRPr lang="zh-CN" sz="2800" dirty="0">
              <a:latin typeface="思源黑体 CN Heavy" panose="020B0A00000000000000" charset="-122"/>
              <a:ea typeface="思源黑体 CN Heavy" panose="020B0A00000000000000" charset="-122"/>
            </a:endParaRPr>
          </a:p>
        </p:txBody>
      </p:sp>
      <p:sp>
        <p:nvSpPr>
          <p:cNvPr id="54" name="副标题 3"/>
          <p:cNvSpPr txBox="1"/>
          <p:nvPr/>
        </p:nvSpPr>
        <p:spPr>
          <a:xfrm>
            <a:off x="335280" y="2349500"/>
            <a:ext cx="9648825" cy="30162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680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4155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880" indent="-23368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altLang="zh-CN" sz="2800" b="1">
                <a:solidFill>
                  <a:schemeClr val="bg1"/>
                </a:solidFill>
                <a:ea typeface="思源黑体 CN Heavy" panose="020B0A00000000000000" charset="-122"/>
              </a:rPr>
              <a:t>Capgemini -HSBC</a:t>
            </a:r>
            <a:endParaRPr lang="en-US" altLang="zh-CN" sz="2800" b="1" dirty="0">
              <a:solidFill>
                <a:schemeClr val="bg1"/>
              </a:solidFill>
              <a:ea typeface="思源黑体 CN Heavy" panose="020B0A00000000000000" charset="-122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altLang="zh-CN" sz="2800" b="1" dirty="0">
                <a:solidFill>
                  <a:schemeClr val="bg1"/>
                </a:solidFill>
                <a:ea typeface="思源黑体 CN Heavy" panose="020B0A00000000000000" charset="-122"/>
              </a:rPr>
              <a:t>CG Credit Score System</a:t>
            </a:r>
            <a:endParaRPr lang="en-US" altLang="zh-CN" sz="2800" b="1" dirty="0">
              <a:solidFill>
                <a:schemeClr val="bg1"/>
              </a:solidFill>
              <a:ea typeface="思源黑体 CN Heavy" panose="020B0A00000000000000" charset="-122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defRPr/>
            </a:pPr>
            <a:r>
              <a:rPr lang="zh-CN" altLang="en-US" sz="2800" b="1" dirty="0">
                <a:solidFill>
                  <a:schemeClr val="tx2"/>
                </a:solidFill>
                <a:ea typeface="思源黑体 CN Heavy" panose="020B0A00000000000000" charset="-122"/>
              </a:rPr>
              <a:t> </a:t>
            </a:r>
            <a:r>
              <a:rPr lang="en-US" altLang="zh-CN" sz="2800" b="1" dirty="0">
                <a:solidFill>
                  <a:schemeClr val="tx2"/>
                </a:solidFill>
                <a:ea typeface="思源黑体 CN Heavy" panose="020B0A00000000000000" charset="-122"/>
              </a:rPr>
              <a:t>            </a:t>
            </a:r>
            <a:r>
              <a:rPr lang="en-US" altLang="zh-CN" sz="2400" b="1" dirty="0">
                <a:solidFill>
                  <a:schemeClr val="tx2"/>
                </a:solidFill>
                <a:ea typeface="思源黑体 CN Heavy" panose="020B0A00000000000000" charset="-122"/>
              </a:rPr>
              <a:t>Eric</a:t>
            </a:r>
            <a:endParaRPr lang="en-US" altLang="zh-CN" sz="2800" b="1" dirty="0">
              <a:solidFill>
                <a:schemeClr val="bg1"/>
              </a:solidFill>
              <a:ea typeface="思源黑体 CN Heavy" panose="020B0A00000000000000" charset="-122"/>
            </a:endParaRPr>
          </a:p>
        </p:txBody>
      </p:sp>
      <p:sp>
        <p:nvSpPr>
          <p:cNvPr id="7" name="副标题 3"/>
          <p:cNvSpPr txBox="1"/>
          <p:nvPr/>
        </p:nvSpPr>
        <p:spPr>
          <a:xfrm>
            <a:off x="480000" y="4627310"/>
            <a:ext cx="7429500" cy="4619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680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4155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880" indent="-23368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>
                <a:solidFill>
                  <a:schemeClr val="bg1"/>
                </a:solidFill>
                <a:ea typeface="思源黑体 CN Heavy" panose="020B0A00000000000000" charset="-122"/>
              </a:rPr>
              <a:t>Jul, 2023</a:t>
            </a:r>
            <a:endParaRPr lang="en-US" altLang="zh-CN" dirty="0">
              <a:solidFill>
                <a:schemeClr val="bg1"/>
              </a:solidFill>
              <a:ea typeface="思源黑体 CN Heavy" panose="020B0A00000000000000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Reference- Tech stack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551180" y="908685"/>
            <a:ext cx="11264900" cy="294005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  <p:sp>
        <p:nvSpPr>
          <p:cNvPr id="3" name="矩形 9"/>
          <p:cNvSpPr/>
          <p:nvPr>
            <p:custDataLst>
              <p:tags r:id="rId1"/>
            </p:custDataLst>
          </p:nvPr>
        </p:nvSpPr>
        <p:spPr>
          <a:xfrm>
            <a:off x="263525" y="836930"/>
            <a:ext cx="11264900" cy="2940050"/>
          </a:xfrm>
          <a:prstGeom prst="rect">
            <a:avLst/>
          </a:prstGeom>
        </p:spPr>
        <p:txBody>
          <a:bodyPr wrap="square">
            <a:noAutofit/>
          </a:bodyPr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for the pipeline, task and auto schedule ; the recommended tech stack is  Java SpringBatch, Java timer ,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for the service of API and client management , Java Spring boot as backend and Vue.js Ant component frontend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for the model, you can choose to implement it by native python data science lib, numpy, pandas and so on.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or you could swtich to AWS , tensorflow and pytorch for help. 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Requirement-Credit Score System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335280" y="908685"/>
            <a:ext cx="11264900" cy="519493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As-is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We found in the finacial market, the tranditional credit score FICO which was built by US is not suitable for small amount of loan as the e-payment is developing all over the world. However, thanks for China, they already advanced ahead on this area;our Capgemini China has the responsibility of introducing a new credit score system for our clients who can save money and time, focusing on their core business.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To-be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We will build a system to offer service of calculating out credit score by the data of customer of bank.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We will create a SAAS version for </a:t>
            </a: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our client and deploy it on AWS cloud.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Our client could easliy sign up on the system and then directly invoke this service via RESTful API.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there are parts of this system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#1. Credit Score model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2. Data Orchestration system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3. Credit Score service wrap of the credit socre model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4. Client management system including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  user mangement, payment management, consuming management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             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Requirement-Data Orchestration System 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551180" y="908685"/>
            <a:ext cx="11264900" cy="294005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build a batch file orchestration processing system, the required feature as below: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1. create jobs and schedule auto trigger these jobs. </a:t>
            </a: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We will have two sort of job,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  <a:sym typeface="+mn-ea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file watcher job  which will watcher a specific file by name in fixed directory folder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  <a:sym typeface="+mn-ea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data process job which will invoke the data process flow via API or other way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  such as, at 9:00am daily trigger the file watcher job and process job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2. create tasks including  data validation, load data into temp DB table, store data in DB permanent table, merge DB table , invoke model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  each task of the rule of processing, configurated in json file , so that we can change the rule without modifying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  the system code. eg.  validation rule is field of column A , data type is number , length 10,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3. create pipeline, comprise of tasks chose from the task #2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  eg. load data pipeline has , validatation, load,store;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        merge data pipeline with validation, load, merge;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4. </a:t>
            </a: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invoke model API to process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                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implementation way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1. by python created by your own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#2. in Aws cloud to implement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Requirement-Credit Score Model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551180" y="908685"/>
            <a:ext cx="11264900" cy="294005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Use the German Credit Data to build a model of credit score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The model we will choose the Logistic Regression which is commonly used in finacial industry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Delpoy this model as the RESTful API, so that the data orchestration system could send data and invoke the model to run out credit score report for particular customer;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Requirement-Credit Score Service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551180" y="908685"/>
            <a:ext cx="11264900" cy="294005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Deploy the credit score as a service, so that other application or system could invoke this service and return the score report for the upstream team.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Requirement-Client Mangement 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551180" y="908685"/>
            <a:ext cx="11264900" cy="294005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We provide SAAS version service for users to invoke,  user could sign up and call for this service with the API token; they can freely use the service in 1000 times; if over it, they have to buy the service of </a:t>
            </a: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50,000 times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 by 50 yuan per month.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Supplement-Configuration merge pipeline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551180" y="908685"/>
            <a:ext cx="11264900" cy="483489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{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name” : ”merge data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sourceSystem” : ”lending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pipeline”: “merge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productId”:  44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dataFormat”: “CSV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delimiter” : “,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jobFrequency” : “DAILY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“mergeColumns”: [{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“sourceColumn”:”age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“targetColumn”: “tage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“dataType”:”int”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}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...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]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  <a:sym typeface="+mn-ea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“sourceTable”:”t_person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  <a:sym typeface="+mn-ea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“targetTable”:”g_group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  <a:sym typeface="+mn-ea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“specailRule”:null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  <a:sym typeface="+mn-ea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“timestamp”: ”2023-06-11T09:18:09Z”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}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Supplement-Configuration store pipeline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551180" y="908685"/>
            <a:ext cx="11264900" cy="483489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{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name” : ”load data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sourceSystem” : ”lending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pipeline”: “store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productId”:  44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dataFormat”: “CSV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delimiter” : “,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“jobFrequency” : “DAILY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“fieldlist”: [{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“name”:”age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“order”: 8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“dataType”:”int”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 “length”: 10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}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   ....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 ],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  <a:sym typeface="+mn-ea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“timestamp”: ”2023-06-11T09:18:09Z”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  <a:sym typeface="+mn-ea"/>
              </a:rPr>
              <a:t> 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  <a:p>
            <a:pPr defTabSz="914400">
              <a:buClr>
                <a:srgbClr val="E64C2C"/>
              </a:buClr>
            </a:pPr>
            <a:r>
              <a:rPr lang="en-US" altLang="zh-CN" sz="1600" spc="-50" dirty="0">
                <a:solidFill>
                  <a:schemeClr val="tx1">
                    <a:lumMod val="50000"/>
                    <a:lumOff val="50000"/>
                  </a:schemeClr>
                </a:solidFill>
                <a:latin typeface="Verdana (正文)" charset="0"/>
                <a:ea typeface="微软雅黑" panose="020B0503020204020204" charset="-122"/>
                <a:cs typeface="Verdana (正文)" charset="0"/>
              </a:rPr>
              <a:t>}</a:t>
            </a: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>
            <a:noAutofit/>
          </a:bodyPr>
          <a:lstStyle/>
          <a:p>
            <a:r>
              <a:rPr lang="en-US" sz="2300" dirty="0">
                <a:ea typeface="黑体" panose="02010609060101010101" charset="-122"/>
              </a:rPr>
              <a:t>FlowChart- To Create a Credit Score Model</a:t>
            </a:r>
            <a:endParaRPr lang="en-US" sz="2300" dirty="0">
              <a:ea typeface="黑体" panose="02010609060101010101" charset="-122"/>
            </a:endParaRPr>
          </a:p>
        </p:txBody>
      </p:sp>
      <p:sp>
        <p:nvSpPr>
          <p:cNvPr id="20" name="矩形 9"/>
          <p:cNvSpPr/>
          <p:nvPr/>
        </p:nvSpPr>
        <p:spPr>
          <a:xfrm>
            <a:off x="551180" y="908685"/>
            <a:ext cx="11264900" cy="294005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defTabSz="914400">
              <a:buClr>
                <a:srgbClr val="E64C2C"/>
              </a:buClr>
            </a:pPr>
            <a:endParaRPr lang="en-US" altLang="zh-CN" sz="1600" spc="-50" dirty="0">
              <a:solidFill>
                <a:schemeClr val="tx1">
                  <a:lumMod val="50000"/>
                  <a:lumOff val="50000"/>
                </a:schemeClr>
              </a:solidFill>
              <a:latin typeface="Verdana (正文)" charset="0"/>
              <a:ea typeface="微软雅黑" panose="020B0503020204020204" charset="-122"/>
              <a:cs typeface="Verdana (正文)" charset="0"/>
            </a:endParaRPr>
          </a:p>
        </p:txBody>
      </p:sp>
      <p:pic>
        <p:nvPicPr>
          <p:cNvPr id="2" name="pic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3660" y="1124585"/>
            <a:ext cx="9356090" cy="490982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  <p:tag name="THINKCELLIDDONOTDELETE" val="H6EdDtx6u0C5EOXGQOn_yg"/>
  <p:tag name="THINKCELLSTATEDONOTDELETE" val="789y2Qm4AUORYTzZZpRkWA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vEWcPGJRw0.SvHBuaBDiLA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pwYnDl6hGIEiK2JQntAZnx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pwYnDl6hGIEiK2JQntAZnx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pwYnDl6hGIEiK2JQntAZnx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pwYnDl6hGIEiK2JQntAZnx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pwYnDl6hGIEiK2JQntAZnx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pwYnDl6hGIEiK2JQntAZnx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pwYnDl6hGIEiK2JQntAZnx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pwYnDl6hGIEiK2JQntAZnx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pwYnDl6hGIEiK2JQntAZnx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pwH0FY1rzhUC7JxyP7fOzJA"/>
</p:tagLst>
</file>

<file path=ppt/tags/tag40.xml><?xml version="1.0" encoding="utf-8"?>
<p:tagLst xmlns:p="http://schemas.openxmlformats.org/presentationml/2006/main">
  <p:tag name="THINKCELLSHAPEDONOTDELETE" val="pwYnDl6hGIEiK2JQntAZnx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pwYnDl6hGIEiK2JQntAZnx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pwYnDl6hGIEiK2JQntAZnx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pwYnDl6hGIEiK2JQntAZnx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pwYnDl6hGIEiK2JQntAZnx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pwYnDl6hGIEiK2JQntAZnx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pwYnDl6hGIEiK2JQntAZnxg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pwYnDl6hGIEiK2JQntAZnx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pwYnDl6hGIEiK2JQntAZnx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pwYnDl6hGIEiK2JQntAZnxg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pwYnDl6hGIEiK2JQntAZnx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KSO_WM_BEAUTIFY_FLAG" val=""/>
</p:tagLst>
</file>

<file path=ppt/tags/tag63.xml><?xml version="1.0" encoding="utf-8"?>
<p:tagLst xmlns:p="http://schemas.openxmlformats.org/presentationml/2006/main">
  <p:tag name="KSO_WM_BEAUTIFY_FLAG" val=""/>
</p:tagLst>
</file>

<file path=ppt/tags/tag64.xml><?xml version="1.0" encoding="utf-8"?>
<p:tagLst xmlns:p="http://schemas.openxmlformats.org/presentationml/2006/main">
  <p:tag name="KSO_WPP_MARK_KEY" val="b840518f-5883-4407-92f0-738df0a6d6af"/>
  <p:tag name="COMMONDATA" val="eyJoZGlkIjoiODdjNzllNTMwMzc5M2NiODExOTEwNTlhOTZiZjA4MzMifQ==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2">
              <a:lumMod val="75000"/>
            </a:schemeClr>
          </a:solidFill>
        </a:ln>
      </a:spPr>
      <a:bodyPr rtlCol="0" anchor="ctr"/>
      <a:lstStyle>
        <a:defPPr algn="ctr">
          <a:defRPr lang="zh-CN" altLang="en-US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76</Words>
  <Application>WPS 演示</Application>
  <PresentationFormat>宽屏</PresentationFormat>
  <Paragraphs>187</Paragraphs>
  <Slides>10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8</vt:i4>
      </vt:variant>
      <vt:variant>
        <vt:lpstr>幻灯片标题</vt:lpstr>
      </vt:variant>
      <vt:variant>
        <vt:i4>10</vt:i4>
      </vt:variant>
    </vt:vector>
  </HeadingPairs>
  <TitlesOfParts>
    <vt:vector size="50" baseType="lpstr">
      <vt:lpstr>Arial</vt:lpstr>
      <vt:lpstr>宋体</vt:lpstr>
      <vt:lpstr>Wingdings</vt:lpstr>
      <vt:lpstr>Verdana</vt:lpstr>
      <vt:lpstr>Arial</vt:lpstr>
      <vt:lpstr>Georgia</vt:lpstr>
      <vt:lpstr>Courier New</vt:lpstr>
      <vt:lpstr>Ubuntu</vt:lpstr>
      <vt:lpstr>NumberOnly</vt:lpstr>
      <vt:lpstr>思源黑体 CN Medium</vt:lpstr>
      <vt:lpstr>黑体</vt:lpstr>
      <vt:lpstr>思源黑体 CN Bold</vt:lpstr>
      <vt:lpstr>思源黑体 CN Light</vt:lpstr>
      <vt:lpstr>微软雅黑</vt:lpstr>
      <vt:lpstr>Calibri</vt:lpstr>
      <vt:lpstr>Verdana</vt:lpstr>
      <vt:lpstr>思源黑体 CN Heavy</vt:lpstr>
      <vt:lpstr>Verdana (正文)</vt:lpstr>
      <vt:lpstr>Arial Unicode MS</vt:lpstr>
      <vt:lpstr>等线</vt:lpstr>
      <vt:lpstr>Content Layouts</vt:lpstr>
      <vt:lpstr>Capgemini Master</vt:lpstr>
      <vt:lpstr>TCLayout.ActiveDocument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Requirement-Batch Orchestration System </vt:lpstr>
      <vt:lpstr>Requirement-Batch Orchestration System </vt:lpstr>
      <vt:lpstr>Requirement-Credit Score Model</vt:lpstr>
      <vt:lpstr>Requirement-Credit Score Model</vt:lpstr>
      <vt:lpstr>Requirement-Credit Score Service</vt:lpstr>
      <vt:lpstr>Supplement-Configuration merge pipeline</vt:lpstr>
      <vt:lpstr>Supplement-Configuration store pipeline</vt:lpstr>
      <vt:lpstr>FlowChart- To Create a Credit Score Model</vt:lpstr>
      <vt:lpstr>Reference- Tech stack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假装是产品经理</cp:lastModifiedBy>
  <cp:revision>991</cp:revision>
  <cp:lastPrinted>2018-12-03T02:48:00Z</cp:lastPrinted>
  <dcterms:created xsi:type="dcterms:W3CDTF">2017-10-27T03:09:00Z</dcterms:created>
  <dcterms:modified xsi:type="dcterms:W3CDTF">2023-07-13T13:3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4309</vt:lpwstr>
  </property>
  <property fmtid="{D5CDD505-2E9C-101B-9397-08002B2CF9AE}" pid="3" name="ICV">
    <vt:lpwstr>320ACF3D57334C3BA360AFB14760890B_12</vt:lpwstr>
  </property>
</Properties>
</file>